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4"/>
  </p:notesMasterIdLst>
  <p:sldIdLst>
    <p:sldId id="360" r:id="rId3"/>
    <p:sldId id="362" r:id="rId4"/>
    <p:sldId id="364" r:id="rId5"/>
    <p:sldId id="368" r:id="rId6"/>
    <p:sldId id="363" r:id="rId7"/>
    <p:sldId id="365" r:id="rId8"/>
    <p:sldId id="372" r:id="rId9"/>
    <p:sldId id="367" r:id="rId10"/>
    <p:sldId id="369" r:id="rId11"/>
    <p:sldId id="370" r:id="rId12"/>
    <p:sldId id="366" r:id="rId13"/>
    <p:sldId id="371" r:id="rId14"/>
    <p:sldId id="357" r:id="rId15"/>
    <p:sldId id="359" r:id="rId16"/>
    <p:sldId id="351" r:id="rId17"/>
    <p:sldId id="361" r:id="rId18"/>
    <p:sldId id="356" r:id="rId19"/>
    <p:sldId id="355" r:id="rId20"/>
    <p:sldId id="341" r:id="rId21"/>
    <p:sldId id="352" r:id="rId22"/>
    <p:sldId id="328" r:id="rId23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0:57.93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1976 0 0,'0'0'10886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7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8 10760 0 0,'0'0'0'0'0,"23"-17"0"0"0,18-15 0 0 0,21-16-7592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89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3 5296 0 0,'0'0'0'0'0,"18"-18"0"0"0,14-7 0 0 0,-39 41-1152 0 0,0 13 1152 0 0,-2-8-976 0 0,0-2 976 0 0,4-8-968 0 0,5-2 968 0 0,-5 11-928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05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69 1 11744 0 0,'0'0'0'0'0,"-39"5"0"0"0,-30 6 0 0 0,32-4-4184 0 0,14-2 4184 0 0,40-5-4184 0 0,31-4 4184 0 0,18 3-1008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27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10760 0 0,'0'0'0'0'0,"-23"14"0"0"0,-13 11 0 0 0,26-13-2680 0 0,6-10 2680 0 0,27-18-2680 0 0,-10 7 3672 0 0,1-1 8 0 0,0 2-1000 0 0,0 3-5320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47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2728 0 0,'0'0'0'0'0,"0"17"0"0"0,10-20-2336 0 0,10-3-640 0 0,-4 6 0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6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9 992 0 0,'0'0'0'0'0,"7"-26"0"0"0,6-17 0 0 0,6-26-264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77 10584 0 0,'0'0'0'0'0,"14"-40"0"0"0,12-25 0 0 0,-11 24-3728 0 0,-5 11 3728 0 0,-10 44-3728 0 0,-10 34 3728 0 0,-3 14-936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91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20 6368 0 0,'0'0'0'0'0,"25"-21"0"0"0,19-17 0 0 0,23-22-4296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10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2016 0 0,'0'0'0'0'0,"11"23"0"0"0,12 18 0 0 0,-12-23-3984 0 0,-3-11 3984 0 0,7 0-3976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2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1 9504 0 0,'0'0'0'0'0,"-16"14"0"0"0,-11 11 0 0 0,18-11-440 0 0,13-1 440 0 0,10-8-432 0 0,9-1 432 0 0,14 4-5888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53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2 1 12016 0 0,'0'0'0'0'0,"-5"19"0"0"0,-1 13 0 0 0,-4 20-8536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37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2 1 5112 0 0,'0'0'0'0'0,"-25"9"0"0"0,-16 5 0 0 0,-25 9-3360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55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21 86 6104 0 0,'0'0'0'0'0,"-23"-16"0"0"0,-15-11 0 0 0,-22-16-4104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98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0 10584 0 0,'0'0'0'0'0,"-18"23"0"0"0,-7 18 0 0 0,-19 21-7464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18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7 1 3768 0 0,'-33'27'1008'0'0,"-31"34"0"0"0,70-66-645 0 0,1 1 0 0 0,-1 0 0 0 0,1 1 0 0 0,0-1 0 0 0,7-2 0 0 0,25-13 923 0 0,-35 16 203 0 0,-3 3-1936 0 0,0-1 1 0 0,1 0 0 0 0,-1 0 0 0 0,1 0-1 0 0,-1 0 1 0 0,0 0 0 0 0,0 0 0 0 0,0 0-1 0 0,0 0 1 0 0,0-1 0 0 0,0 1 0 0 0,0 0 0 0 0,0-1-1 0 0,0 1 1 0 0,0 0 0 0 0,0-3 0 0 0,1-8-801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3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0 4936 0 0,'0'0'0'0'0,"-7"27"416"0"0,7-11 0 0 0,7-32-4272 0 0,-1-2 2984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5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73 14704 0 0,'0'0'0'0'0,"23"0"0"0"0,15 2 0 0 0,-19-2-1408 0 0,-6 3 1408 0 0,-13-15-2344 0 0,0-2 1528 0 0,0 3 8 0 0,0-3 808 0 0,0-13-6320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65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 1 8072 0 0,'0'0'0'0'0,"-5"19"0"0"0,-1 19 0 0 0,3-21 1464 0 0,3-6 8 0 0,9-22-1472 0 0,-6-1 720 0 0,2 1 0 0 0,-1-6-720 0 0,-4 6-2120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8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8 11568 0 0,'0'0'0'0'0,"0"25"0"0"0,-3 17 0 0 0,-1-24-3360 0 0,4-9 3360 0 0,-5-36-3352 0 0,3 13 2400 0 0,-5 0 952 0 0,2 3-944 0 0,1-1 944 0 0,-3-11-1504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9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5 7176 0 0,'0'0'0'0'0,"28"-11"0"0"0,18-8 0 0 0,-25 10 344 0 0,-5 4 0 0 0,-42 24-344 0 0,1 1-5504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1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00 9328 0 0,'0'0'0'0'0,"37"-74"0"0"0,30-53 0 0 0,36-72-652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6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7 1 5384 0 0,'0'0'0'0'0,"-7"14"0"0"0,-2 0-3560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3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 107 9864 0 0,'0'0'0'0'0,"30"-29"0"0"0,25-20 0 0 0,-37 29 0 0 0,-18 11 0 0 0,-9 31 0 0 0,-14 22 0 0 0,5-8-1384 0 0,2-3 1384 0 0,4-8-1384 0 0,3-7 1384 0 0,-11 25-4496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4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96 12280 0 0,'0'0'0'0'0,"13"-16"0"0"0,4-16 0 0 0,12-16-8736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70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11 1 8608 0 0,'0'0'0'0'0,"-22"14"0"0"0,-11 12 0 0 0,-22 14-5976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8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7 1 1264 0 0,'0'0'0'0'0,"-10"8"0"0"0,-8 7 0 0 0,-11 8-472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9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2 9688 0 0,'0'0'0'0'0,"16"-9"0"0"0,16-4 0 0 0,-20 13 968 0 0,-10 7-968 0 0,-4 4 968 0 0,-5 3-968 0 0,0-1 288 0 0,-2-3 0 0 0,0 4-288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05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1 7352 0 0,'0'0'0'0'0,"-6"25"-2464"0"0,3-13 8 0 0,3-3 2456 0 0,-4 11-736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18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92 0 0,'0'0'0'0'0,"-9"14"0"0"0,-5 11 0 0 0,3-2 8 0 0,-1 0-8 0 0,7-8 8 0 0,5-10 0 0 0,0 7 8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33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7624 0 0,'0'0'0'0'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46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1120 0 0,'0'0'0'0'0,"0"14"0"0"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63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 0 1624 0 0,'0'0'0'0'0,"-3"14"0"0"0,-1 1 0 0 0,2 2 0 0 0,2-2 0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74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7088 0 0,'0'0'0'0'0,"12"0"0"0"0,4-4 1112 0 0,-18 17-3056 0 0,-1-2 0 0 0,-1-1-328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79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 7984 0 0,'0'0'0'0'0,"5"-13"696"0"0,8 19 0 0 0,1 6-696 0 0,0 2-2680 0 0,-3 1 8 0 0,1-1 800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94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7 40 5920 0 0,'0'0'0'0'0,"0"-14"0"0"0,0-11 0 0 0,-5 44-3792 0 0,1-8 3704 0 0,-1 3 88 0 0,-7-7-88 0 0,1-1-880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1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7 992 0 0,'0'0'0'0'0,"14"-18"0"0"0,9-6 0 0 0,15-21-264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27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92 0 0,'0'0'0'0'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46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0 9864 0 0,'0'0'0'0'0,"-7"18"0"0"0,0 10 0 0 0,-9 19-6920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60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7 11656 0 0,'0'0'0'0'0,"20"-9"0"0"0,12-5 0 0 0,19-9-8264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76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3 1080 0 0,'0'0'0'0'0,"27"-23"0"0"0,-27 38-64 0 0,-4-1 0 0 0,1 0-160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36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3088 0 0,'0'0'0'0'0,"25"18"0"0"0,1-2-9336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53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1 992 0 0,'0'0'0'0'0,"-14"25"0"0"0,-2 1-264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72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9 0 10584 0 0,'0'0'0'0'0,"-6"14"0"0"0,-2 8 0 0 0,-7 15-7464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02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2 904 0 0,'0'0'0'0'0,"16"-27"0"0"0,16-12 0 0 0,16-27-200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09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4792 0 0,'0'0'0'0'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25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 13536 0 0,'0'0'0'0'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38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0 11744 0 0,'0'0'0'0'0,"-17"18"0"0"0,-14 11 0 0 0,-18 17-8328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9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7 0 11032 0 0,'0'0'0'0'0,"-9"13"0"0"0,-5 6 0 0 0,-9 13-7800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2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52 12376 0 0,'0'0'0'0'0,"15"-9"0"0"0,8-9 0 0 0,14-7-8808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41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0 212 3144 0 0,'0'0'0'0'0,"-25"16"0"0"0,-16 16 0 0 0,22-14 2728 0 0,5-4-2728 0 0,37-28 2736 0 0,28-23-2736 0 0,-12 8 840 0 0,5-3-840 0 0,-15 9 848 0 0,-10 9-848 0 0,-1 0-784 0 0,-4 0 784 0 0,9-11-784 0 0,2-7 784 0 0,24-25-5872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5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1 22 13360 0 0,'0'0'0'0'0,"-23"16"0"0"0,-11 11 0 0 0,22-16-3392 0 0,10-6 3392 0 0,27-19-3384 0 0,21-11 3384 0 0,25-16-3616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7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1 9328 0 0,'0'0'0'0'0,"-14"23"0"0"0,-13 14 0 0 0,25-17 1016 0 0,11-10-1016 0 0,-9 3 1024 0 0,-3-8 80 0 0,13-9-1104 0 0,11-4-2432 0 0,-6 1 8 0 0,-1-2 2424 0 0,14-9-4632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9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81 0 8880 0 0,'0'0'0'0'0,"-40"15"0"0"0,-26 8 0 0 0,25-7-3064 0 0,8-2 3064 0 0,56-21-3056 0 0,37-20 3056 0 0,23-7-832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3 1 12192 0 0,'0'0'0'0'0,"-18"5"0"0"0,-10 7 0 0 0,-18 4-8664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1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04 992 0 0,'0'0'0'0'0,"19"-20"0"0"0,13-12 0 0 0,19-19-264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31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0136 0 0,'0'0'0'0'0,"23"12"0"0"0,14 4 0 0 0,23 13-7128 0 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51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11384 0 0,'0'0'0'0'0,"23"0"0"0"0,14-3 0 0 0,-23 3-2296 0 0,-10 0 2296 0 0,-27 14-2296 0 0,10-9 576 0 0,6-1 1720 0 0,-11 5-944 0 0,6-1 1712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6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8 992 0 0,'0'0'0'0'0,"20"-17"8"0"0,-8 20 0 0 0,-15 22-8 0 0,-1 2-280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76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19 6456 0 0,'0'0'0'0'0,"2"-23"0"0"0,1-13 0 0 0,3-24-4368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87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5 19 2872 0 0,'0'0'0'0'0,"-16"-2"0"0"0,-10-5 0 0 0,-17-2-1680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0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5 1 1888 0 0,'0'0'0'0'0,"-23"2"0"0"0,9 10-272 0 0,0 4 272 0 0,3-7-264 0 0,-1 0-208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42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3448 0 0,'0'0'0'0'0,"92"23"0"0"0,60 18 0 0 0,-56-16-4856 0 0,-15 1 4856 0 0,-28-6-4856 0 0,-21-1 4856 0 0,53 22-1112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58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1 1 5296 0 0,'0'0'0'0'0,"-9"14"0"0"0,-2 13 0 0 0,-10 12-3496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4 10400 0 0,'0'0'0'0'0,"-30"10"0"0"0,-25 12 0 0 0,42-12 144 0 0,22-1-144 0 0,5-7 152 0 0,9-4-152 0 0,0-3-376 0 0,6-2 376 0 0,-15 5-376 0 0,-7 2 376 0 0,4-5-2888 0 0,3-13 0 0 0,0 0 960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8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4 1 8792 0 0,'0'0'0'0'0,"-16"26"0"0"0,-13 20 0 0 0,21-23 824 0 0,8-7-824 0 0,15-17 832 0 0,16-14-832 0 0,-7 0 0 0 0,8-5 0 0 0,-16 9 0 0 0,-3 2 0 0 0,4 4-2136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3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1 1080 0 0,'0'0'0'0'0,"2"-14"0"0"0,2-13 0 0 0,1-12-336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0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45 25 8432 0 0,'0'0'0'0'0,"-32"18"0"0"0,-19 10 0 0 0,17-10-1768 0 0,6-2 1768 0 0,44-21-1760 0 0,34-15 1760 0 0,-13 2-2240 0 0,0-5 2240 0 0,37-16-1240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18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8792 0 0,'0'0'0'0'0,"-21"19"0"0"0,-9 13 0 0 0,21-16 688 0 0,9-3 8 0 0,-12 1-696 0 0,24-18-2672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35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504 0 0,'0'0'0'0'0,"13"11"0"0"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57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9864 0 0,'0'0'0'0'0,"18"18"0"0"0,10 11 0 0 0,-19-15-536 0 0,-9-9 536 0 0,-16-16-2040 0 0,5 8 544 0 0,-3 6 1496 0 0,0-1-1360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7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6 10312 0 0,'0'0'0'0'0,"14"-7"0"0"0,13-8 0 0 0,-16 12-1248 0 0,-4 3 1248 0 0,-14 11-1248 0 0,-7 3 600 0 0,-1-2 0 0 0,1-1-3600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8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72 11656 0 0,'0'0'0'0'0,"3"-27"0"0"0,6-17 0 0 0,-4 69-8304 0 0,1 1 7304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0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0672 0 0,'0'0'0'0'0,"17"27"1160"0"0,-11-17 8 0 0,1 5-1168 0 0,-5-1-384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6368 0 0,'0'0'0'0'0,"21"-13"0"0"0,-1 3-4296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3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 12280 0 0,'0'0'0'0'0,"19"0"0"0"0,17-2 0 0 0,-26 2 800 0 0,-6 2 0 0 0,-16-2-336 0 0,-4 0 8 0 0,3-2-472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51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6 9688 0 0,'0'0'0'0'0,"10"-16"0"0"0,8-16 0 0 0,10-16-6792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42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13624 0 0,'0'0'0'0'0,"28"3"0"0"0,23-1 0 0 0,-24-2-2416 0 0,-9 0 2416 0 0,-8-14-2416 0 0,3 0-3096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7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1 5656 0 0,'-7'107'8537'0'0,"7"-104"-8569"0"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86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60 7352 0 0,'0'0'0'0'0,"2"-32"0"0"0,1-16 0 0 0,2-32-5040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0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2 86 12280 0 0,'0'0'0'0'0,"-40"-19"0"0"0,-22-15 0 0 0,30 14-4400 0 0,14 8 4400 0 0,45 17-4392 0 0,29 13 4392 0 0,-13-13-424 0 0,1-5 424 0 0,-10 4-416 0 0,-2 1 416 0 0,33 4-1408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1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1 6 8520 0 0,'-26'17'182'0'0,"21"-14"-50"0"0,-1 0 1 0 0,0 1-1 0 0,1 0 0 0 0,0 0 1 0 0,0 0-1 0 0,0 1 0 0 0,1 0 1 0 0,-6 7-1 0 0,9-12-78 0 0,1 0 0 0 0,0 1 0 0 0,-1-1 0 0 0,1 0-1 0 0,0 1 1 0 0,0-1 0 0 0,-1 0 0 0 0,1 1 0 0 0,0-1 0 0 0,0 0 0 0 0,0 1 0 0 0,0-1-1 0 0,-1 1 1 0 0,1-1 0 0 0,0 0 0 0 0,0 1 0 0 0,0-1 0 0 0,0 1 0 0 0,0-1 0 0 0,0 1-1 0 0,0-1 1 0 0,0 0 0 0 0,0 1 0 0 0,0-1 0 0 0,0 1 0 0 0,0-1 0 0 0,1 1 0 0 0,-1-1-1 0 0,0 0 1 0 0,0 1 0 0 0,0-1 0 0 0,0 0 0 0 0,1 1 0 0 0,-1-1 0 0 0,0 0 0 0 0,0 1-1 0 0,1-1 1 0 0,-1 0 0 0 0,0 1 0 0 0,1-1 0 0 0,-1 0 0 0 0,0 1 0 0 0,1-1 0 0 0,-1 0-1 0 0,0 0 1 0 0,1 0 0 0 0,-1 1 0 0 0,1-1 0 0 0,-1 0 0 0 0,0 0 0 0 0,1 0-1 0 0,-1 0 1 0 0,1 0 0 0 0,26 2 1266 0 0,-21-2 558 0 0,32-46-12850 0 0,-3 6 8952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3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776 0 0,'0'0'0'0'0,"-18"15"0"0"0,-10 6 0 0 0,23-9 1424 0 0,7-6 8 0 0,-2 6-864 0 0,12-5 0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47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1 9056 0 0,'0'0'0'0'0,"-23"16"0"0"0,-11 16 0 0 0,31-18 768 0 0,17-3-768 0 0,-23 1 768 0 0,-5-3-768 0 0,-4 2-3104 0 0,39-17 8 0 0,-1 1 1056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51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04 7352 0 0,'0'0'0'0'0,"14"-20"0"0"0,13-12 0 0 0,12-20-5040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7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0 13720 0 0,'0'0'0'0'0,"-3"15"0"0"0,-3 6 0 0 0,3-9 368 0 0,3-3 0 0 0,3 2-368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8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65 10848 0 0,'0'0'0'0'0,"27"-13"0"0"0,15-6 0 0 0,28-13-7656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1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6 24 10672 0 0,'0'0'0'0'0,"-32"14"0"0"0,-15 9 0 0 0,27-14 1248 0 0,13-9 8 0 0,19-18-1256 0 0,6 7 184 0 0,7-3-184 0 0,-13 5 192 0 0,-5 4-192 0 0,8-7-1000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59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6 0 7800 0 0,'0'0'0'0'0,"-18"13"0"0"0,0-2-5376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3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0 8432 0 0,'0'0'0'0'0,"-14"29"0"0"0,-9 22 0 0 0,17-24-736 0 0,6-11 736 0 0,20-39-728 0 0,-8 12-1208 0 0,2 2 1936 0 0,1-7-1928 0 0,-1-1 560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4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66 1 14256 0 0,'0'0'0'0'0,"-23"33"0"0"0,-10 24 0 0 0,24-21-872 0 0,10-11 872 0 0,17-34-872 0 0,18-25 872 0 0,-15 7-3784 0 0,0-3 3784 0 0,-7 9-3776 0 0,-3 10 3776 0 0,1-3-808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5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0 11120 0 0,'0'0'0'0'0,"-13"23"0"0"0,-3 18 0 0 0,9-18 496 0 0,7-7-496 0 0,-2-3 496 0 0,2-8-496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07T15:35:11.4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 1 24575,'0'0'-8191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3.52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0 842 24575,'3'13'0,"61"156"0,-41-117 0,-3 1 0,14 58 0,-33-107 0,5 28 0,-6-31 0,1 1 0,-1-1 0,0 1 0,0 0 0,0-1 0,0 1 0,0-1 0,0 1 0,-1 0 0,1-1 0,0 1 0,-1-1 0,1 1 0,-1-1 0,-1 3 0,-2-46 0,-50-149 0,37 137 0,1 6 0,-3 1 0,-44-82 0,-71-75 0,132 200 0,-14-17 0,2-1 0,-13-24 0,24 39 0,0 0 0,0 0 0,0 0 0,1 0 0,0-1 0,1 1 0,0-1 0,0 1 0,0-1 0,1 0 0,1-13 0,0 18 0,0 0 0,0 0 0,0 0 0,1 0 0,-1 0 0,1 1 0,-1-1 0,1 0 0,0 1 0,0-1 0,0 1 0,1 0 0,-1 0 0,0 0 0,4-3 0,47-26 0,-37 22 0,134-67 0,177-62 0,-201 87 0,-89 36-7,33-13-1351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4.1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78 24575,'3'0'0,"-1"-1"0,1 1 0,0-1 0,-1 0 0,1 0 0,-1 0 0,0 0 0,1 0 0,-1 0 0,4-3 0,5-2 0,79-32 0,2 5 0,148-34 0,-197 59-455,1 2 0,76-2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3.2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 31 24575,'-2'188'0,"6"245"0,-1-390 0,2 0 0,19 75 0,-17-93 0,1 0 0,2 0 0,0-1 0,2 0 0,25 40 0,-33-59 0,0 0 0,0 0 0,1 0 0,-1 0 0,1-1 0,0 1 0,0-1 0,1 0 0,-1-1 0,1 1 0,0-1 0,0 0 0,0-1 0,0 0 0,10 3 0,-7-3 0,1-1 0,0 0 0,0-1 0,-1 0 0,1-1 0,0 0 0,-1 0 0,1-1 0,13-4 0,9-6 0,-2-1 0,0-1 0,-1-2 0,0 0 0,27-22 0,-46 30 0,0-1 0,0 0 0,0-1 0,-1 0 0,0-1 0,-1 1 0,-1-2 0,1 1 0,-2-1 0,0 0 0,9-25 0,0-9 0,17-95 0,-20 83 0,-9 45 0,11-55 0,10-102 0,-23 147 0,0 0 0,-2 1 0,0-1 0,-2 0 0,-1 1 0,0 0 0,-2 0 0,-13-34 0,15 46-151,1 1-1,0-1 0,0 1 0,0-1 1,1 0-1,1 0 0,0 0 1,0-20-1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4.3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0 1 24575,'-8'182'0,"-40"227"0,32-296 0,2-11 0,-1-14 0,5 2 0,1 113 0,9-202 0,0-1 0,0 1 0,1 0 0,-1-1 0,0 1 0,0 0 0,1-1 0,-1 1 0,0 0 0,1-1 0,-1 1 0,1-1 0,-1 1 0,1-1 0,-1 1 0,1-1 0,-1 1 0,1-1 0,-1 1 0,1-1 0,0 0 0,-1 1 0,1-1 0,1 1 0,25 5 0,39-5 0,-49-1 0,103-3 0,175-26 0,-239 22 0,109 1 0,-162 6-151,0 0-1,-1-1 0,1 1 0,0 0 1,0-1-1,0 1 0,0-1 1,4-2-1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5.1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1 1 24575,'-9'32'0,"-47"134"0,-73 224 0,15-37 0,114-352 0,-1 0 0,1 1 0,0-1 0,-1 0 0,1 0 0,0 1 0,0-1 0,-1 0 0,1 1 0,0-1 0,0 0 0,1 1 0,-1-1 0,0 0 0,0 1 0,1-1 0,-1 0 0,1 1 0,-1-1 0,2 2 0,0-1 0,-1-1 0,1 1 0,0-1 0,1 1 0,-1-1 0,0 0 0,0 0 0,5 2 0,5 2 0,11 5 0,1-1 0,0-2 0,0 0 0,1-1 0,27 2 0,127 3 0,-40-4 0,-3-1-136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DC1DD3-0493-46C3-BD53-8794B61DBF4A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311390-20C9-4ACC-861C-4A0879D0549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7673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Free-</a:t>
            </a:r>
            <a:r>
              <a:rPr lang="it-IT" dirty="0" err="1"/>
              <a:t>tropospheric</a:t>
            </a:r>
            <a:r>
              <a:rPr lang="it-IT" dirty="0"/>
              <a:t> MSE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constant</a:t>
            </a:r>
            <a:r>
              <a:rPr lang="it-IT" dirty="0"/>
              <a:t> </a:t>
            </a:r>
            <a:r>
              <a:rPr lang="it-IT" dirty="0" err="1"/>
              <a:t>along</a:t>
            </a:r>
            <a:r>
              <a:rPr lang="it-IT" dirty="0"/>
              <a:t> pseudo-</a:t>
            </a:r>
            <a:r>
              <a:rPr lang="it-IT" dirty="0" err="1"/>
              <a:t>adiabats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11390-20C9-4ACC-861C-4A0879D05495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25008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3B341-CFA4-1A8F-7C30-6F56CA05F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63B6061-6404-72BF-1A3E-A303FB8470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D2DB07D-7163-8369-B0BB-9A4F1365D9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2F08D79-06F1-9C7D-90D4-34C77B7480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2439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coupling between marine shallow</a:t>
            </a:r>
          </a:p>
          <a:p>
            <a:r>
              <a:rPr lang="en-GB" dirty="0"/>
              <a:t>trade-wind clouds and circulation is known to play a </a:t>
            </a:r>
            <a:r>
              <a:rPr lang="en-GB" dirty="0" err="1"/>
              <a:t>cen</a:t>
            </a:r>
            <a:r>
              <a:rPr lang="en-GB" dirty="0"/>
              <a:t>-</a:t>
            </a:r>
          </a:p>
          <a:p>
            <a:r>
              <a:rPr lang="en-GB" dirty="0" err="1"/>
              <a:t>tral</a:t>
            </a:r>
            <a:r>
              <a:rPr lang="en-GB" dirty="0"/>
              <a:t> role in the uncertainty of the tropical cloud feedback and climate sensitivity estimated by models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32647E-1901-48D5-AA7D-6B7FAF87005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1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58269-0FCC-1D3F-C579-939719D22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E3049F68-93B6-EC38-630B-0476E68A1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F45CFCC-D890-062B-3B48-0441D94AA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B8839F6-1EDB-CC9F-B424-C078ACEB48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78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23881-83DB-62CF-B625-034AC2B54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1E2C79C0-7CE2-3511-4FCA-740CE999F0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E9AB5FF-DEB5-F3AF-72FF-D56B559B8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EB836F2-2D2B-9414-F201-2B02B47425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935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F213F9-A88A-651C-8597-844BE615F3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E10578F-31C5-DD4B-418A-D061028FE3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F2981DC-B2CE-A28D-43FB-59C264D65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78E1CF-8C61-3E3D-BCC0-09B866F44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BE9FFAA-E6DC-32F4-3344-9FFC26203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520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EADF1A-77B5-E80E-D51C-0AA7BF9C2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F8F8BAB-63C8-C2D9-3C51-BDA9D116EC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64DB1FF-671A-A0B8-CDF4-856F52D94B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6A5DE4-1BA8-D2CA-B7DC-59F20CF24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9613F6C-E208-D508-FDA5-80233AFAD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9201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D6DF4DD8-23E0-4910-0F14-D6210475FE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356F801-CFF9-DEA6-840B-D972043391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D56F39-ACB6-1B1C-D832-7F3F0FA1C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D1E999-4CB2-7CC4-4C92-F1C6625EE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1E87DC3-691F-51B5-F673-7BD452473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73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CC673F4-B2D3-454D-9090-E3ADDCB64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165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749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05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722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164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47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263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31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03463FD-3FAC-3F71-A7AC-82AED9D1F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27C69A3-1D03-325B-D560-7F8675D9B8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E4F34F2-D20F-019C-7494-8595EFD3D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582964D-71CA-1714-8532-AAEF0C29B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B5750C-888C-89C6-3E43-39F0B618D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8949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94528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0909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8143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137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242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902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131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679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36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784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84DE91-1A94-710E-013F-7283EB798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A8DABDE-999E-6E6A-EA7C-EEEB3FD7FB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84D77E7-9DB8-159D-B1BC-290788A2D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64C75BF-0D87-ACD7-C839-765C7849F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047D844-91EB-1928-55C3-0B5862FA6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76204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8952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9825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0364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8801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864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Kapiteltrenn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962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Kapiteltrenn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9028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Kapiteltrenn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020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Kapiteltrenn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301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Kapiteltrenn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17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89B83D5-D972-5D8E-692A-2BC98979F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C475265-8114-7946-77C4-9D6A4554B4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6F257F1B-4A2B-C39A-F3A5-221BBD98CE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EA3D1F-2DF1-7382-46E3-EB0140FF3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7FF053-CEF9-B6B0-6949-8F95EEF59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BC840505-BB0F-561B-53C7-72C9B5FE9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2194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7_Kapiteltrenner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906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8_Kapiteltrenner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383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9_Kapiteltrenner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476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0_Kapiteltrenner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534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1_Kapiteltrenner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8206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2_Kapiteltrenner 1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54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348D0F-6869-164A-E0D2-39CC9E496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23EC749-98AF-50A0-EC63-087AE9469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9074133-82E4-16EC-7CEE-57AD62EFC3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AD06D53F-67AA-29A8-5784-2E1F9D07B6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000D82F-4A2D-8CCD-119F-D3E2CE4976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5B212B1-8070-16AB-4FA9-F2372B5C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79D7201-4B14-99DC-5749-0E089C6D8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59C5507B-6663-433B-E84E-875E7344E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0599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D4F6BE7-757E-56FA-4E0F-6E17AA1B8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4B72AD7-C79A-5288-1E24-AE43AE354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A3976F6-1FD2-209C-F3DD-E71ECA664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204098B-A7C8-309B-FC5E-C485D1618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2025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A9EF89AD-9836-8436-B78A-727551CE9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D64F972-F76D-1801-CAF8-C29CFCCE7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71BD330-1642-FFE7-5257-F1E80783A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9783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2BA881-5A2A-3852-3B42-D9ED5C192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CDF34F4-D410-0E0D-90AA-1E879969A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B3247E5-53AF-FD25-FCFC-DE2019D4A7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00FB3B5-853A-08D6-F356-C64265CD0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A627E74-B969-564B-B4CC-23BF846BA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2896FC7-FCC0-BAF2-6C54-1C0D69E84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7203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57B4FC-89F4-9866-245F-2376D259F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A222478-8FE2-79DD-F1D9-4FA02AF06F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9DC2C8A-1DDB-89AE-68AE-020257B33C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9201F4-4A8F-9A44-6318-E5298F401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C624DF-CE26-D139-CCC7-4BB6D9019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7111F0F-DFCF-15CF-7236-987DE65A0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192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ags" Target="../tags/tag2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1F6C5D8-F7DE-DD5D-DF3B-3C779867A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F2428FC-5BFD-B3AF-6486-58D48334A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B65313-CF1E-98D9-0F66-6096B6DE6D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E7AB8B3-228B-4AAF-9E13-3606109D5567}" type="datetimeFigureOut">
              <a:rPr lang="it-IT" smtClean="0"/>
              <a:t>30/09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0855025-61C7-5B70-F57F-AE37CC818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D4D85F-EB37-6A6E-088E-3D6D70DF7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710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84" imgH="385" progId="TCLayout.ActiveDocument.1">
                  <p:embed/>
                </p:oleObj>
              </mc:Choice>
              <mc:Fallback>
                <p:oleObj name="think-cell Folie" r:id="rId3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Meteorologie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4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51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jp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10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0.png"/><Relationship Id="rId13" Type="http://schemas.openxmlformats.org/officeDocument/2006/relationships/customXml" Target="../ink/ink97.xml"/><Relationship Id="rId3" Type="http://schemas.openxmlformats.org/officeDocument/2006/relationships/image" Target="../media/image118.png"/><Relationship Id="rId7" Type="http://schemas.openxmlformats.org/officeDocument/2006/relationships/customXml" Target="../ink/ink94.xml"/><Relationship Id="rId12" Type="http://schemas.openxmlformats.org/officeDocument/2006/relationships/image" Target="../media/image121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0.png"/><Relationship Id="rId11" Type="http://schemas.openxmlformats.org/officeDocument/2006/relationships/customXml" Target="../ink/ink96.xml"/><Relationship Id="rId15" Type="http://schemas.openxmlformats.org/officeDocument/2006/relationships/customXml" Target="../ink/ink98.xml"/><Relationship Id="rId10" Type="http://schemas.openxmlformats.org/officeDocument/2006/relationships/image" Target="../media/image1150.png"/><Relationship Id="rId4" Type="http://schemas.openxmlformats.org/officeDocument/2006/relationships/customXml" Target="../ink/ink93.xml"/><Relationship Id="rId9" Type="http://schemas.openxmlformats.org/officeDocument/2006/relationships/customXml" Target="../ink/ink95.xml"/><Relationship Id="rId14" Type="http://schemas.openxmlformats.org/officeDocument/2006/relationships/image" Target="../media/image1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0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earth.nullschool.net/#current/ocean/surface/currents/orthographic=-53.45,15.81,1332/loc=-61.075,10.136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71.png"/><Relationship Id="rId21" Type="http://schemas.openxmlformats.org/officeDocument/2006/relationships/customXml" Target="../ink/ink9.xml"/><Relationship Id="rId42" Type="http://schemas.openxmlformats.org/officeDocument/2006/relationships/image" Target="../media/image35.png"/><Relationship Id="rId63" Type="http://schemas.openxmlformats.org/officeDocument/2006/relationships/customXml" Target="../ink/ink30.xml"/><Relationship Id="rId84" Type="http://schemas.openxmlformats.org/officeDocument/2006/relationships/image" Target="../media/image56.png"/><Relationship Id="rId138" Type="http://schemas.openxmlformats.org/officeDocument/2006/relationships/customXml" Target="../ink/ink69.xml"/><Relationship Id="rId159" Type="http://schemas.openxmlformats.org/officeDocument/2006/relationships/image" Target="../media/image92.png"/><Relationship Id="rId170" Type="http://schemas.openxmlformats.org/officeDocument/2006/relationships/customXml" Target="../ink/ink85.xml"/><Relationship Id="rId107" Type="http://schemas.openxmlformats.org/officeDocument/2006/relationships/image" Target="../media/image66.png"/><Relationship Id="rId11" Type="http://schemas.openxmlformats.org/officeDocument/2006/relationships/customXml" Target="../ink/ink4.xml"/><Relationship Id="rId32" Type="http://schemas.openxmlformats.org/officeDocument/2006/relationships/image" Target="../media/image300.png"/><Relationship Id="rId53" Type="http://schemas.openxmlformats.org/officeDocument/2006/relationships/customXml" Target="../ink/ink25.xml"/><Relationship Id="rId74" Type="http://schemas.openxmlformats.org/officeDocument/2006/relationships/image" Target="../media/image51.png"/><Relationship Id="rId128" Type="http://schemas.openxmlformats.org/officeDocument/2006/relationships/customXml" Target="../ink/ink64.xml"/><Relationship Id="rId149" Type="http://schemas.openxmlformats.org/officeDocument/2006/relationships/image" Target="../media/image87.png"/><Relationship Id="rId95" Type="http://schemas.openxmlformats.org/officeDocument/2006/relationships/image" Target="../media/image61.png"/><Relationship Id="rId160" Type="http://schemas.openxmlformats.org/officeDocument/2006/relationships/customXml" Target="../ink/ink80.xml"/><Relationship Id="rId181" Type="http://schemas.openxmlformats.org/officeDocument/2006/relationships/image" Target="../media/image103.png"/><Relationship Id="rId22" Type="http://schemas.openxmlformats.org/officeDocument/2006/relationships/image" Target="../media/image250.png"/><Relationship Id="rId43" Type="http://schemas.openxmlformats.org/officeDocument/2006/relationships/customXml" Target="../ink/ink20.xml"/><Relationship Id="rId64" Type="http://schemas.openxmlformats.org/officeDocument/2006/relationships/image" Target="../media/image46.png"/><Relationship Id="rId118" Type="http://schemas.openxmlformats.org/officeDocument/2006/relationships/customXml" Target="../ink/ink59.xml"/><Relationship Id="rId139" Type="http://schemas.openxmlformats.org/officeDocument/2006/relationships/image" Target="../media/image82.png"/><Relationship Id="rId85" Type="http://schemas.openxmlformats.org/officeDocument/2006/relationships/customXml" Target="../ink/ink41.xml"/><Relationship Id="rId150" Type="http://schemas.openxmlformats.org/officeDocument/2006/relationships/customXml" Target="../ink/ink75.xml"/><Relationship Id="rId171" Type="http://schemas.openxmlformats.org/officeDocument/2006/relationships/image" Target="../media/image98.png"/><Relationship Id="rId12" Type="http://schemas.openxmlformats.org/officeDocument/2006/relationships/image" Target="../media/image200.png"/><Relationship Id="rId33" Type="http://schemas.openxmlformats.org/officeDocument/2006/relationships/customXml" Target="../ink/ink15.xml"/><Relationship Id="rId108" Type="http://schemas.openxmlformats.org/officeDocument/2006/relationships/customXml" Target="../ink/ink54.xml"/><Relationship Id="rId129" Type="http://schemas.openxmlformats.org/officeDocument/2006/relationships/image" Target="../media/image77.png"/><Relationship Id="rId54" Type="http://schemas.openxmlformats.org/officeDocument/2006/relationships/image" Target="../media/image41.png"/><Relationship Id="rId75" Type="http://schemas.openxmlformats.org/officeDocument/2006/relationships/customXml" Target="../ink/ink36.xml"/><Relationship Id="rId96" Type="http://schemas.openxmlformats.org/officeDocument/2006/relationships/customXml" Target="../ink/ink47.xml"/><Relationship Id="rId140" Type="http://schemas.openxmlformats.org/officeDocument/2006/relationships/customXml" Target="../ink/ink70.xml"/><Relationship Id="rId161" Type="http://schemas.openxmlformats.org/officeDocument/2006/relationships/image" Target="../media/image93.png"/><Relationship Id="rId182" Type="http://schemas.openxmlformats.org/officeDocument/2006/relationships/customXml" Target="../ink/ink91.xml"/><Relationship Id="rId23" Type="http://schemas.openxmlformats.org/officeDocument/2006/relationships/customXml" Target="../ink/ink10.xml"/><Relationship Id="rId119" Type="http://schemas.openxmlformats.org/officeDocument/2006/relationships/image" Target="../media/image72.png"/><Relationship Id="rId44" Type="http://schemas.openxmlformats.org/officeDocument/2006/relationships/image" Target="../media/image36.png"/><Relationship Id="rId65" Type="http://schemas.openxmlformats.org/officeDocument/2006/relationships/customXml" Target="../ink/ink31.xml"/><Relationship Id="rId86" Type="http://schemas.openxmlformats.org/officeDocument/2006/relationships/image" Target="../media/image57.png"/><Relationship Id="rId130" Type="http://schemas.openxmlformats.org/officeDocument/2006/relationships/customXml" Target="../ink/ink65.xml"/><Relationship Id="rId151" Type="http://schemas.openxmlformats.org/officeDocument/2006/relationships/image" Target="../media/image88.png"/><Relationship Id="rId172" Type="http://schemas.openxmlformats.org/officeDocument/2006/relationships/customXml" Target="../ink/ink86.xml"/><Relationship Id="rId13" Type="http://schemas.openxmlformats.org/officeDocument/2006/relationships/customXml" Target="../ink/ink5.xml"/><Relationship Id="rId18" Type="http://schemas.openxmlformats.org/officeDocument/2006/relationships/image" Target="../media/image23.png"/><Relationship Id="rId39" Type="http://schemas.openxmlformats.org/officeDocument/2006/relationships/customXml" Target="../ink/ink18.xml"/><Relationship Id="rId109" Type="http://schemas.openxmlformats.org/officeDocument/2006/relationships/image" Target="../media/image67.png"/><Relationship Id="rId34" Type="http://schemas.openxmlformats.org/officeDocument/2006/relationships/image" Target="../media/image310.png"/><Relationship Id="rId50" Type="http://schemas.openxmlformats.org/officeDocument/2006/relationships/image" Target="../media/image39.png"/><Relationship Id="rId55" Type="http://schemas.openxmlformats.org/officeDocument/2006/relationships/customXml" Target="../ink/ink26.xml"/><Relationship Id="rId76" Type="http://schemas.openxmlformats.org/officeDocument/2006/relationships/image" Target="../media/image52.png"/><Relationship Id="rId97" Type="http://schemas.openxmlformats.org/officeDocument/2006/relationships/image" Target="../media/image62.png"/><Relationship Id="rId104" Type="http://schemas.openxmlformats.org/officeDocument/2006/relationships/customXml" Target="../ink/ink52.xml"/><Relationship Id="rId120" Type="http://schemas.openxmlformats.org/officeDocument/2006/relationships/customXml" Target="../ink/ink60.xml"/><Relationship Id="rId125" Type="http://schemas.openxmlformats.org/officeDocument/2006/relationships/image" Target="../media/image75.png"/><Relationship Id="rId141" Type="http://schemas.openxmlformats.org/officeDocument/2006/relationships/image" Target="../media/image83.png"/><Relationship Id="rId146" Type="http://schemas.openxmlformats.org/officeDocument/2006/relationships/customXml" Target="../ink/ink73.xml"/><Relationship Id="rId167" Type="http://schemas.openxmlformats.org/officeDocument/2006/relationships/image" Target="../media/image96.png"/><Relationship Id="rId188" Type="http://schemas.openxmlformats.org/officeDocument/2006/relationships/image" Target="../media/image107.png"/><Relationship Id="rId71" Type="http://schemas.openxmlformats.org/officeDocument/2006/relationships/customXml" Target="../ink/ink34.xml"/><Relationship Id="rId92" Type="http://schemas.openxmlformats.org/officeDocument/2006/relationships/customXml" Target="../ink/ink45.xml"/><Relationship Id="rId162" Type="http://schemas.openxmlformats.org/officeDocument/2006/relationships/customXml" Target="../ink/ink81.xml"/><Relationship Id="rId183" Type="http://schemas.openxmlformats.org/officeDocument/2006/relationships/image" Target="../media/image104.png"/><Relationship Id="rId2" Type="http://schemas.openxmlformats.org/officeDocument/2006/relationships/customXml" Target="../ink/ink1.xml"/><Relationship Id="rId29" Type="http://schemas.openxmlformats.org/officeDocument/2006/relationships/customXml" Target="../ink/ink13.xml"/><Relationship Id="rId24" Type="http://schemas.openxmlformats.org/officeDocument/2006/relationships/image" Target="../media/image260.png"/><Relationship Id="rId40" Type="http://schemas.openxmlformats.org/officeDocument/2006/relationships/image" Target="../media/image34.png"/><Relationship Id="rId45" Type="http://schemas.openxmlformats.org/officeDocument/2006/relationships/customXml" Target="../ink/ink21.xml"/><Relationship Id="rId66" Type="http://schemas.openxmlformats.org/officeDocument/2006/relationships/image" Target="../media/image47.png"/><Relationship Id="rId87" Type="http://schemas.openxmlformats.org/officeDocument/2006/relationships/customXml" Target="../ink/ink42.xml"/><Relationship Id="rId110" Type="http://schemas.openxmlformats.org/officeDocument/2006/relationships/customXml" Target="../ink/ink55.xml"/><Relationship Id="rId115" Type="http://schemas.openxmlformats.org/officeDocument/2006/relationships/image" Target="../media/image70.png"/><Relationship Id="rId131" Type="http://schemas.openxmlformats.org/officeDocument/2006/relationships/image" Target="../media/image78.png"/><Relationship Id="rId136" Type="http://schemas.openxmlformats.org/officeDocument/2006/relationships/customXml" Target="../ink/ink68.xml"/><Relationship Id="rId157" Type="http://schemas.openxmlformats.org/officeDocument/2006/relationships/image" Target="../media/image91.png"/><Relationship Id="rId178" Type="http://schemas.openxmlformats.org/officeDocument/2006/relationships/customXml" Target="../ink/ink89.xml"/><Relationship Id="rId61" Type="http://schemas.openxmlformats.org/officeDocument/2006/relationships/customXml" Target="../ink/ink29.xml"/><Relationship Id="rId82" Type="http://schemas.openxmlformats.org/officeDocument/2006/relationships/image" Target="../media/image55.png"/><Relationship Id="rId152" Type="http://schemas.openxmlformats.org/officeDocument/2006/relationships/customXml" Target="../ink/ink76.xml"/><Relationship Id="rId173" Type="http://schemas.openxmlformats.org/officeDocument/2006/relationships/image" Target="../media/image99.png"/><Relationship Id="rId19" Type="http://schemas.openxmlformats.org/officeDocument/2006/relationships/customXml" Target="../ink/ink8.xml"/><Relationship Id="rId14" Type="http://schemas.openxmlformats.org/officeDocument/2006/relationships/image" Target="../media/image210.png"/><Relationship Id="rId30" Type="http://schemas.openxmlformats.org/officeDocument/2006/relationships/image" Target="../media/image290.png"/><Relationship Id="rId35" Type="http://schemas.openxmlformats.org/officeDocument/2006/relationships/customXml" Target="../ink/ink16.xml"/><Relationship Id="rId56" Type="http://schemas.openxmlformats.org/officeDocument/2006/relationships/image" Target="../media/image42.png"/><Relationship Id="rId77" Type="http://schemas.openxmlformats.org/officeDocument/2006/relationships/customXml" Target="../ink/ink37.xml"/><Relationship Id="rId100" Type="http://schemas.openxmlformats.org/officeDocument/2006/relationships/customXml" Target="../ink/ink49.xml"/><Relationship Id="rId105" Type="http://schemas.openxmlformats.org/officeDocument/2006/relationships/image" Target="../media/image65.png"/><Relationship Id="rId126" Type="http://schemas.openxmlformats.org/officeDocument/2006/relationships/customXml" Target="../ink/ink63.xml"/><Relationship Id="rId147" Type="http://schemas.openxmlformats.org/officeDocument/2006/relationships/image" Target="../media/image86.png"/><Relationship Id="rId168" Type="http://schemas.openxmlformats.org/officeDocument/2006/relationships/customXml" Target="../ink/ink84.xml"/><Relationship Id="rId8" Type="http://schemas.openxmlformats.org/officeDocument/2006/relationships/image" Target="../media/image180.png"/><Relationship Id="rId51" Type="http://schemas.openxmlformats.org/officeDocument/2006/relationships/customXml" Target="../ink/ink24.xml"/><Relationship Id="rId72" Type="http://schemas.openxmlformats.org/officeDocument/2006/relationships/image" Target="../media/image50.png"/><Relationship Id="rId93" Type="http://schemas.openxmlformats.org/officeDocument/2006/relationships/image" Target="../media/image60.png"/><Relationship Id="rId98" Type="http://schemas.openxmlformats.org/officeDocument/2006/relationships/customXml" Target="../ink/ink48.xml"/><Relationship Id="rId121" Type="http://schemas.openxmlformats.org/officeDocument/2006/relationships/image" Target="../media/image73.png"/><Relationship Id="rId142" Type="http://schemas.openxmlformats.org/officeDocument/2006/relationships/customXml" Target="../ink/ink71.xml"/><Relationship Id="rId163" Type="http://schemas.openxmlformats.org/officeDocument/2006/relationships/image" Target="../media/image94.png"/><Relationship Id="rId184" Type="http://schemas.openxmlformats.org/officeDocument/2006/relationships/customXml" Target="../ink/ink92.xml"/><Relationship Id="rId3" Type="http://schemas.openxmlformats.org/officeDocument/2006/relationships/image" Target="../media/image31.png"/><Relationship Id="rId25" Type="http://schemas.openxmlformats.org/officeDocument/2006/relationships/customXml" Target="../ink/ink11.xml"/><Relationship Id="rId46" Type="http://schemas.openxmlformats.org/officeDocument/2006/relationships/image" Target="../media/image37.png"/><Relationship Id="rId67" Type="http://schemas.openxmlformats.org/officeDocument/2006/relationships/customXml" Target="../ink/ink32.xml"/><Relationship Id="rId116" Type="http://schemas.openxmlformats.org/officeDocument/2006/relationships/customXml" Target="../ink/ink58.xml"/><Relationship Id="rId137" Type="http://schemas.openxmlformats.org/officeDocument/2006/relationships/image" Target="../media/image81.png"/><Relationship Id="rId158" Type="http://schemas.openxmlformats.org/officeDocument/2006/relationships/customXml" Target="../ink/ink79.xml"/><Relationship Id="rId20" Type="http://schemas.openxmlformats.org/officeDocument/2006/relationships/image" Target="../media/image240.png"/><Relationship Id="rId41" Type="http://schemas.openxmlformats.org/officeDocument/2006/relationships/customXml" Target="../ink/ink19.xml"/><Relationship Id="rId62" Type="http://schemas.openxmlformats.org/officeDocument/2006/relationships/image" Target="../media/image45.png"/><Relationship Id="rId83" Type="http://schemas.openxmlformats.org/officeDocument/2006/relationships/customXml" Target="../ink/ink40.xml"/><Relationship Id="rId88" Type="http://schemas.openxmlformats.org/officeDocument/2006/relationships/image" Target="../media/image58.png"/><Relationship Id="rId111" Type="http://schemas.openxmlformats.org/officeDocument/2006/relationships/image" Target="../media/image68.png"/><Relationship Id="rId132" Type="http://schemas.openxmlformats.org/officeDocument/2006/relationships/customXml" Target="../ink/ink66.xml"/><Relationship Id="rId153" Type="http://schemas.openxmlformats.org/officeDocument/2006/relationships/image" Target="../media/image89.png"/><Relationship Id="rId174" Type="http://schemas.openxmlformats.org/officeDocument/2006/relationships/customXml" Target="../ink/ink87.xml"/><Relationship Id="rId179" Type="http://schemas.openxmlformats.org/officeDocument/2006/relationships/image" Target="../media/image102.png"/><Relationship Id="rId15" Type="http://schemas.openxmlformats.org/officeDocument/2006/relationships/customXml" Target="../ink/ink6.xml"/><Relationship Id="rId36" Type="http://schemas.openxmlformats.org/officeDocument/2006/relationships/image" Target="../media/image320.png"/><Relationship Id="rId57" Type="http://schemas.openxmlformats.org/officeDocument/2006/relationships/customXml" Target="../ink/ink27.xml"/><Relationship Id="rId106" Type="http://schemas.openxmlformats.org/officeDocument/2006/relationships/customXml" Target="../ink/ink53.xml"/><Relationship Id="rId127" Type="http://schemas.openxmlformats.org/officeDocument/2006/relationships/image" Target="../media/image76.png"/><Relationship Id="rId10" Type="http://schemas.openxmlformats.org/officeDocument/2006/relationships/image" Target="../media/image190.png"/><Relationship Id="rId31" Type="http://schemas.openxmlformats.org/officeDocument/2006/relationships/customXml" Target="../ink/ink14.xml"/><Relationship Id="rId52" Type="http://schemas.openxmlformats.org/officeDocument/2006/relationships/image" Target="../media/image40.png"/><Relationship Id="rId73" Type="http://schemas.openxmlformats.org/officeDocument/2006/relationships/customXml" Target="../ink/ink35.xml"/><Relationship Id="rId78" Type="http://schemas.openxmlformats.org/officeDocument/2006/relationships/image" Target="../media/image53.png"/><Relationship Id="rId94" Type="http://schemas.openxmlformats.org/officeDocument/2006/relationships/customXml" Target="../ink/ink46.xml"/><Relationship Id="rId99" Type="http://schemas.openxmlformats.org/officeDocument/2006/relationships/image" Target="../media/image63.png"/><Relationship Id="rId101" Type="http://schemas.openxmlformats.org/officeDocument/2006/relationships/image" Target="../media/image64.png"/><Relationship Id="rId122" Type="http://schemas.openxmlformats.org/officeDocument/2006/relationships/customXml" Target="../ink/ink61.xml"/><Relationship Id="rId143" Type="http://schemas.openxmlformats.org/officeDocument/2006/relationships/image" Target="../media/image84.png"/><Relationship Id="rId148" Type="http://schemas.openxmlformats.org/officeDocument/2006/relationships/customXml" Target="../ink/ink74.xml"/><Relationship Id="rId164" Type="http://schemas.openxmlformats.org/officeDocument/2006/relationships/customXml" Target="../ink/ink82.xml"/><Relationship Id="rId169" Type="http://schemas.openxmlformats.org/officeDocument/2006/relationships/image" Target="../media/image97.png"/><Relationship Id="rId185" Type="http://schemas.openxmlformats.org/officeDocument/2006/relationships/image" Target="../media/image105.png"/><Relationship Id="rId4" Type="http://schemas.openxmlformats.org/officeDocument/2006/relationships/customXml" Target="../ink/ink2.xml"/><Relationship Id="rId9" Type="http://schemas.openxmlformats.org/officeDocument/2006/relationships/customXml" Target="../ink/ink3.xml"/><Relationship Id="rId180" Type="http://schemas.openxmlformats.org/officeDocument/2006/relationships/customXml" Target="../ink/ink90.xml"/><Relationship Id="rId26" Type="http://schemas.openxmlformats.org/officeDocument/2006/relationships/image" Target="../media/image270.png"/><Relationship Id="rId47" Type="http://schemas.openxmlformats.org/officeDocument/2006/relationships/customXml" Target="../ink/ink22.xml"/><Relationship Id="rId68" Type="http://schemas.openxmlformats.org/officeDocument/2006/relationships/image" Target="../media/image48.png"/><Relationship Id="rId89" Type="http://schemas.openxmlformats.org/officeDocument/2006/relationships/customXml" Target="../ink/ink43.xml"/><Relationship Id="rId112" Type="http://schemas.openxmlformats.org/officeDocument/2006/relationships/customXml" Target="../ink/ink56.xml"/><Relationship Id="rId133" Type="http://schemas.openxmlformats.org/officeDocument/2006/relationships/image" Target="../media/image79.png"/><Relationship Id="rId154" Type="http://schemas.openxmlformats.org/officeDocument/2006/relationships/customXml" Target="../ink/ink77.xml"/><Relationship Id="rId175" Type="http://schemas.openxmlformats.org/officeDocument/2006/relationships/image" Target="../media/image100.png"/><Relationship Id="rId16" Type="http://schemas.openxmlformats.org/officeDocument/2006/relationships/image" Target="../media/image220.png"/><Relationship Id="rId37" Type="http://schemas.openxmlformats.org/officeDocument/2006/relationships/customXml" Target="../ink/ink17.xml"/><Relationship Id="rId58" Type="http://schemas.openxmlformats.org/officeDocument/2006/relationships/image" Target="../media/image43.png"/><Relationship Id="rId79" Type="http://schemas.openxmlformats.org/officeDocument/2006/relationships/customXml" Target="../ink/ink38.xml"/><Relationship Id="rId102" Type="http://schemas.openxmlformats.org/officeDocument/2006/relationships/customXml" Target="../ink/ink50.xml"/><Relationship Id="rId123" Type="http://schemas.openxmlformats.org/officeDocument/2006/relationships/image" Target="../media/image74.png"/><Relationship Id="rId144" Type="http://schemas.openxmlformats.org/officeDocument/2006/relationships/customXml" Target="../ink/ink72.xml"/><Relationship Id="rId90" Type="http://schemas.openxmlformats.org/officeDocument/2006/relationships/customXml" Target="../ink/ink44.xml"/><Relationship Id="rId165" Type="http://schemas.openxmlformats.org/officeDocument/2006/relationships/image" Target="../media/image95.png"/><Relationship Id="rId186" Type="http://schemas.openxmlformats.org/officeDocument/2006/relationships/image" Target="../media/image32.png"/><Relationship Id="rId27" Type="http://schemas.openxmlformats.org/officeDocument/2006/relationships/customXml" Target="../ink/ink12.xml"/><Relationship Id="rId48" Type="http://schemas.openxmlformats.org/officeDocument/2006/relationships/image" Target="../media/image38.png"/><Relationship Id="rId69" Type="http://schemas.openxmlformats.org/officeDocument/2006/relationships/customXml" Target="../ink/ink33.xml"/><Relationship Id="rId113" Type="http://schemas.openxmlformats.org/officeDocument/2006/relationships/image" Target="../media/image69.png"/><Relationship Id="rId134" Type="http://schemas.openxmlformats.org/officeDocument/2006/relationships/customXml" Target="../ink/ink67.xml"/><Relationship Id="rId80" Type="http://schemas.openxmlformats.org/officeDocument/2006/relationships/image" Target="../media/image54.png"/><Relationship Id="rId155" Type="http://schemas.openxmlformats.org/officeDocument/2006/relationships/image" Target="../media/image90.png"/><Relationship Id="rId176" Type="http://schemas.openxmlformats.org/officeDocument/2006/relationships/customXml" Target="../ink/ink88.xml"/><Relationship Id="rId17" Type="http://schemas.openxmlformats.org/officeDocument/2006/relationships/customXml" Target="../ink/ink7.xml"/><Relationship Id="rId38" Type="http://schemas.openxmlformats.org/officeDocument/2006/relationships/image" Target="../media/image33.png"/><Relationship Id="rId59" Type="http://schemas.openxmlformats.org/officeDocument/2006/relationships/customXml" Target="../ink/ink28.xml"/><Relationship Id="rId103" Type="http://schemas.openxmlformats.org/officeDocument/2006/relationships/customXml" Target="../ink/ink51.xml"/><Relationship Id="rId124" Type="http://schemas.openxmlformats.org/officeDocument/2006/relationships/customXml" Target="../ink/ink62.xml"/><Relationship Id="rId70" Type="http://schemas.openxmlformats.org/officeDocument/2006/relationships/image" Target="../media/image49.png"/><Relationship Id="rId91" Type="http://schemas.openxmlformats.org/officeDocument/2006/relationships/image" Target="../media/image59.png"/><Relationship Id="rId145" Type="http://schemas.openxmlformats.org/officeDocument/2006/relationships/image" Target="../media/image85.png"/><Relationship Id="rId166" Type="http://schemas.openxmlformats.org/officeDocument/2006/relationships/customXml" Target="../ink/ink83.xml"/><Relationship Id="rId187" Type="http://schemas.openxmlformats.org/officeDocument/2006/relationships/image" Target="../media/image106.png"/><Relationship Id="rId1" Type="http://schemas.openxmlformats.org/officeDocument/2006/relationships/slideLayout" Target="../slideLayouts/slideLayout21.xml"/><Relationship Id="rId28" Type="http://schemas.openxmlformats.org/officeDocument/2006/relationships/image" Target="../media/image280.png"/><Relationship Id="rId49" Type="http://schemas.openxmlformats.org/officeDocument/2006/relationships/customXml" Target="../ink/ink23.xml"/><Relationship Id="rId114" Type="http://schemas.openxmlformats.org/officeDocument/2006/relationships/customXml" Target="../ink/ink57.xml"/><Relationship Id="rId60" Type="http://schemas.openxmlformats.org/officeDocument/2006/relationships/image" Target="../media/image44.png"/><Relationship Id="rId81" Type="http://schemas.openxmlformats.org/officeDocument/2006/relationships/customXml" Target="../ink/ink39.xml"/><Relationship Id="rId135" Type="http://schemas.openxmlformats.org/officeDocument/2006/relationships/image" Target="../media/image80.png"/><Relationship Id="rId156" Type="http://schemas.openxmlformats.org/officeDocument/2006/relationships/customXml" Target="../ink/ink78.xml"/><Relationship Id="rId177" Type="http://schemas.openxmlformats.org/officeDocument/2006/relationships/image" Target="../media/image10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022820EC-FD57-544C-A58C-9B7BFE321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000" y="3718316"/>
            <a:ext cx="9144000" cy="2160000"/>
          </a:xfrm>
        </p:spPr>
        <p:txBody>
          <a:bodyPr/>
          <a:lstStyle/>
          <a:p>
            <a:r>
              <a:rPr lang="de-DE" dirty="0"/>
              <a:t>Alessandro Storer  |  </a:t>
            </a:r>
            <a:r>
              <a:rPr lang="de-DE" i="1" dirty="0"/>
              <a:t>Supervisor</a:t>
            </a:r>
            <a:r>
              <a:rPr lang="de-DE" dirty="0"/>
              <a:t>: Hans Mikhail Segura    			                                         </a:t>
            </a:r>
            <a:r>
              <a:rPr lang="de-DE" dirty="0" err="1"/>
              <a:t>Cajachagua</a:t>
            </a:r>
            <a:endParaRPr lang="de-DE" dirty="0"/>
          </a:p>
          <a:p>
            <a:r>
              <a:rPr lang="de-DE" i="1" dirty="0"/>
              <a:t>IMPRS ON EARTH SYSTEM MODELLING</a:t>
            </a:r>
            <a:endParaRPr lang="de-DE" dirty="0"/>
          </a:p>
          <a:p>
            <a:r>
              <a:rPr lang="de-DE" dirty="0"/>
              <a:t>PhD </a:t>
            </a:r>
            <a:r>
              <a:rPr lang="de-DE" dirty="0" err="1"/>
              <a:t>mandate</a:t>
            </a:r>
            <a:r>
              <a:rPr lang="de-DE" dirty="0"/>
              <a:t>: September 2025 – September 2028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A5D859D-A8C1-8B98-0744-C186EA5CDF9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82875" y="2359764"/>
            <a:ext cx="9001125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The role of surface turbulent fluxes</a:t>
            </a:r>
            <a:br>
              <a:rPr lang="en-GB" sz="2800" dirty="0"/>
            </a:br>
            <a:r>
              <a:rPr lang="en-GB" sz="2800" dirty="0"/>
              <a:t> over the ocean in air-sea coupling </a:t>
            </a:r>
            <a:br>
              <a:rPr lang="en-GB" dirty="0"/>
            </a:br>
            <a:r>
              <a:rPr lang="en-GB" sz="2400" b="1" dirty="0"/>
              <a:t>Past experience and</a:t>
            </a:r>
            <a:r>
              <a:rPr lang="en-GB" sz="2400" dirty="0"/>
              <a:t> </a:t>
            </a:r>
            <a:r>
              <a:rPr lang="en-GB" sz="2400" b="1" dirty="0"/>
              <a:t>Future perspectives</a:t>
            </a:r>
            <a:endParaRPr lang="it-IT" sz="2400" b="1" dirty="0"/>
          </a:p>
        </p:txBody>
      </p:sp>
    </p:spTree>
    <p:extLst>
      <p:ext uri="{BB962C8B-B14F-4D97-AF65-F5344CB8AC3E}">
        <p14:creationId xmlns:p14="http://schemas.microsoft.com/office/powerpoint/2010/main" val="1857041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5B43C-994A-C512-C1FA-5E30FF572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1DF8C58-F227-94DB-3047-412942D830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8237DEBB-336F-27EE-A37E-391065E53644}"/>
              </a:ext>
            </a:extLst>
          </p:cNvPr>
          <p:cNvSpPr txBox="1"/>
          <p:nvPr/>
        </p:nvSpPr>
        <p:spPr>
          <a:xfrm>
            <a:off x="415033" y="312548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What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to do? –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Initi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numer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study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0E75AD57-E981-FB88-D644-DDBF20B09FC7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4DD861F0-02BC-187E-0F86-18BADB505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93" t="16134" r="22092" b="23649"/>
          <a:stretch>
            <a:fillRect/>
          </a:stretch>
        </p:blipFill>
        <p:spPr>
          <a:xfrm>
            <a:off x="6096000" y="1317572"/>
            <a:ext cx="5244445" cy="388349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BCF08A6C-A169-C784-1D6B-E35B3F25C183}"/>
              </a:ext>
            </a:extLst>
          </p:cNvPr>
          <p:cNvSpPr txBox="1"/>
          <p:nvPr/>
        </p:nvSpPr>
        <p:spPr>
          <a:xfrm>
            <a:off x="707265" y="1885447"/>
            <a:ext cx="4392637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MSE budget </a:t>
            </a:r>
            <a:r>
              <a:rPr lang="it-IT" sz="1600" dirty="0" err="1"/>
              <a:t>analysis</a:t>
            </a:r>
            <a:r>
              <a:rPr lang="it-IT" sz="1600" dirty="0"/>
              <a:t> over                      </a:t>
            </a:r>
            <a:r>
              <a:rPr lang="it-IT" sz="1600" dirty="0" err="1"/>
              <a:t>longer-than-convective</a:t>
            </a:r>
            <a:r>
              <a:rPr lang="it-IT" sz="1600" dirty="0"/>
              <a:t> </a:t>
            </a:r>
            <a:r>
              <a:rPr lang="it-IT" sz="1600" dirty="0" err="1"/>
              <a:t>timescales</a:t>
            </a:r>
            <a:endParaRPr lang="it-IT" sz="16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/>
              <p:nvPr/>
            </p:nvSpPr>
            <p:spPr>
              <a:xfrm>
                <a:off x="851556" y="2704148"/>
                <a:ext cx="5366206" cy="464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it-IT" sz="2333" b="0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≈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𝑆𝐻𝐹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𝐿𝐻𝐹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𝑅𝐴𝐷</m:t>
                    </m:r>
                  </m:oMath>
                </a14:m>
                <a:endParaRPr lang="it-IT" sz="2333" dirty="0"/>
              </a:p>
            </p:txBody>
          </p:sp>
        </mc:Choice>
        <mc:Fallback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1556" y="2704148"/>
                <a:ext cx="5366206" cy="464935"/>
              </a:xfrm>
              <a:prstGeom prst="rect">
                <a:avLst/>
              </a:prstGeom>
              <a:blipFill>
                <a:blip r:embed="rId3"/>
                <a:stretch>
                  <a:fillRect l="-1705" t="-11842" b="-25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5A1D501-02AD-FCC3-21E0-1509B2D64F0F}"/>
              </a:ext>
            </a:extLst>
          </p:cNvPr>
          <p:cNvSpPr txBox="1"/>
          <p:nvPr/>
        </p:nvSpPr>
        <p:spPr>
          <a:xfrm>
            <a:off x="707264" y="3553016"/>
            <a:ext cx="4392637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Assess</a:t>
            </a:r>
            <a:r>
              <a:rPr lang="it-IT" sz="1600" dirty="0"/>
              <a:t> the full time-</a:t>
            </a:r>
            <a:r>
              <a:rPr lang="it-IT" sz="1600" dirty="0" err="1"/>
              <a:t>dependent</a:t>
            </a:r>
            <a:r>
              <a:rPr lang="it-IT" sz="1600" dirty="0"/>
              <a:t>             </a:t>
            </a:r>
            <a:r>
              <a:rPr lang="it-IT" sz="1600" dirty="0" err="1"/>
              <a:t>evolution</a:t>
            </a:r>
            <a:r>
              <a:rPr lang="it-IT" sz="1600" dirty="0"/>
              <a:t> of MSE to </a:t>
            </a:r>
            <a:r>
              <a:rPr lang="it-IT" sz="1600" dirty="0" err="1"/>
              <a:t>characterize</a:t>
            </a:r>
            <a:r>
              <a:rPr lang="it-IT" sz="1600" dirty="0"/>
              <a:t>:       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5BB5570E-BA55-715C-4085-EDBF73084E08}"/>
              </a:ext>
            </a:extLst>
          </p:cNvPr>
          <p:cNvSpPr txBox="1"/>
          <p:nvPr/>
        </p:nvSpPr>
        <p:spPr>
          <a:xfrm>
            <a:off x="1038773" y="4421209"/>
            <a:ext cx="5057228" cy="16015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+mj-lt"/>
              <a:buAutoNum type="arabicPeriod"/>
            </a:pPr>
            <a:r>
              <a:rPr lang="it-IT" sz="1600" dirty="0" err="1"/>
              <a:t>Modified</a:t>
            </a:r>
            <a:r>
              <a:rPr lang="it-IT" sz="1600" dirty="0"/>
              <a:t> MSE budget in </a:t>
            </a:r>
            <a:r>
              <a:rPr lang="it-IT" sz="1600" dirty="0" err="1"/>
              <a:t>precipitating</a:t>
            </a:r>
            <a:r>
              <a:rPr lang="it-IT" sz="1600" dirty="0"/>
              <a:t> and           non-</a:t>
            </a:r>
            <a:r>
              <a:rPr lang="it-IT" sz="1600" dirty="0" err="1"/>
              <a:t>precipitating</a:t>
            </a:r>
            <a:r>
              <a:rPr lang="it-IT" sz="1600" dirty="0"/>
              <a:t> </a:t>
            </a:r>
            <a:r>
              <a:rPr lang="it-IT" sz="1600" dirty="0" err="1"/>
              <a:t>regions</a:t>
            </a:r>
            <a:r>
              <a:rPr lang="it-IT" sz="1600" dirty="0"/>
              <a:t>                                                </a:t>
            </a:r>
            <a:r>
              <a:rPr lang="it-IT" sz="1600" dirty="0">
                <a:sym typeface="Wingdings" panose="05000000000000000000" pitchFamily="2" charset="2"/>
              </a:rPr>
              <a:t> </a:t>
            </a:r>
            <a:r>
              <a:rPr lang="it-IT" sz="1600" dirty="0" err="1">
                <a:sym typeface="Wingdings" panose="05000000000000000000" pitchFamily="2" charset="2"/>
              </a:rPr>
              <a:t>when</a:t>
            </a:r>
            <a:r>
              <a:rPr lang="it-IT" sz="1600" dirty="0">
                <a:sym typeface="Wingdings" panose="05000000000000000000" pitchFamily="2" charset="2"/>
              </a:rPr>
              <a:t> and </a:t>
            </a:r>
            <a:r>
              <a:rPr lang="it-IT" sz="1600" dirty="0" err="1">
                <a:sym typeface="Wingdings" panose="05000000000000000000" pitchFamily="2" charset="2"/>
              </a:rPr>
              <a:t>where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is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convection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exactly</a:t>
            </a:r>
            <a:r>
              <a:rPr lang="it-IT" sz="1600" dirty="0">
                <a:sym typeface="Wingdings" panose="05000000000000000000" pitchFamily="2" charset="2"/>
              </a:rPr>
              <a:t> </a:t>
            </a:r>
            <a:r>
              <a:rPr lang="it-IT" sz="1600" dirty="0" err="1">
                <a:sym typeface="Wingdings" panose="05000000000000000000" pitchFamily="2" charset="2"/>
              </a:rPr>
              <a:t>triggered</a:t>
            </a:r>
            <a:r>
              <a:rPr lang="it-IT" sz="1600" dirty="0">
                <a:sym typeface="Wingdings" panose="05000000000000000000" pitchFamily="2" charset="2"/>
              </a:rPr>
              <a:t>?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+mj-lt"/>
              <a:buAutoNum type="arabicPeriod"/>
            </a:pPr>
            <a:r>
              <a:rPr lang="it-IT" sz="1600" dirty="0" err="1"/>
              <a:t>Role</a:t>
            </a:r>
            <a:r>
              <a:rPr lang="it-IT" sz="1600" dirty="0"/>
              <a:t> of </a:t>
            </a:r>
            <a:r>
              <a:rPr lang="it-IT" sz="1600" dirty="0" err="1"/>
              <a:t>downdrafts</a:t>
            </a:r>
            <a:r>
              <a:rPr lang="it-IT" sz="1600" dirty="0"/>
              <a:t> and, </a:t>
            </a:r>
            <a:r>
              <a:rPr lang="it-IT" sz="1600" dirty="0" err="1"/>
              <a:t>hence</a:t>
            </a:r>
            <a:r>
              <a:rPr lang="it-IT" sz="1600" dirty="0"/>
              <a:t>, the interaction of     </a:t>
            </a:r>
            <a:r>
              <a:rPr lang="it-IT" sz="1600" dirty="0" err="1"/>
              <a:t>different</a:t>
            </a:r>
            <a:r>
              <a:rPr lang="it-IT" sz="1600" dirty="0"/>
              <a:t> </a:t>
            </a:r>
            <a:r>
              <a:rPr lang="it-IT" sz="1600" dirty="0" err="1"/>
              <a:t>scales</a:t>
            </a:r>
            <a:r>
              <a:rPr lang="it-IT" sz="1600" dirty="0"/>
              <a:t> of </a:t>
            </a:r>
            <a:r>
              <a:rPr lang="it-IT" sz="1600" dirty="0" err="1"/>
              <a:t>variability</a:t>
            </a:r>
            <a:endParaRPr lang="it-IT" sz="1600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89AD16E-734D-81C3-76AA-012F2762AF60}"/>
              </a:ext>
            </a:extLst>
          </p:cNvPr>
          <p:cNvSpPr txBox="1"/>
          <p:nvPr/>
        </p:nvSpPr>
        <p:spPr>
          <a:xfrm>
            <a:off x="707264" y="1065229"/>
            <a:ext cx="3600785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Suitable</a:t>
            </a:r>
            <a:r>
              <a:rPr lang="it-IT" sz="1600" dirty="0"/>
              <a:t> </a:t>
            </a:r>
            <a:r>
              <a:rPr lang="it-IT" sz="1600" dirty="0" err="1"/>
              <a:t>definition</a:t>
            </a:r>
            <a:r>
              <a:rPr lang="it-IT" sz="1600" dirty="0"/>
              <a:t> of </a:t>
            </a:r>
            <a:r>
              <a:rPr lang="it-IT" sz="1600" dirty="0" err="1"/>
              <a:t>boundary</a:t>
            </a:r>
            <a:r>
              <a:rPr lang="it-IT" sz="1600" dirty="0"/>
              <a:t> </a:t>
            </a:r>
            <a:r>
              <a:rPr lang="it-IT" sz="1600" dirty="0" err="1"/>
              <a:t>layer</a:t>
            </a:r>
            <a:r>
              <a:rPr lang="it-IT" sz="1600" dirty="0"/>
              <a:t> </a:t>
            </a:r>
            <a:r>
              <a:rPr lang="it-IT" sz="1600" dirty="0">
                <a:sym typeface="Wingdings" panose="05000000000000000000" pitchFamily="2" charset="2"/>
              </a:rPr>
              <a:t> </a:t>
            </a:r>
            <a:r>
              <a:rPr lang="it-IT" sz="1600" dirty="0" err="1">
                <a:sym typeface="Wingdings" panose="05000000000000000000" pitchFamily="2" charset="2"/>
              </a:rPr>
              <a:t>there</a:t>
            </a:r>
            <a:r>
              <a:rPr lang="it-IT" sz="1600" dirty="0">
                <a:sym typeface="Wingdings" panose="05000000000000000000" pitchFamily="2" charset="2"/>
              </a:rPr>
              <a:t> are </a:t>
            </a:r>
            <a:r>
              <a:rPr lang="it-IT" sz="1600" dirty="0" err="1">
                <a:sym typeface="Wingdings" panose="05000000000000000000" pitchFamily="2" charset="2"/>
              </a:rPr>
              <a:t>many</a:t>
            </a:r>
            <a:r>
              <a:rPr lang="it-IT" sz="1600" dirty="0">
                <a:sym typeface="Wingdings" panose="05000000000000000000" pitchFamily="2" charset="2"/>
              </a:rPr>
              <a:t>!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131519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AF5591D-F8B5-EEF4-3DAF-BDABABA98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DE017A4D-C5D2-65A5-E590-B1201A9AC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558" y="1028750"/>
            <a:ext cx="5076161" cy="5129099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C331663-2499-6E52-E584-9383B86386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460158B5-136F-8CB4-3E5C-39CF0662988B}"/>
              </a:ext>
            </a:extLst>
          </p:cNvPr>
          <p:cNvCxnSpPr>
            <a:cxnSpLocks/>
          </p:cNvCxnSpPr>
          <p:nvPr/>
        </p:nvCxnSpPr>
        <p:spPr>
          <a:xfrm>
            <a:off x="955060" y="700151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7" name="Immagine 6">
            <a:extLst>
              <a:ext uri="{FF2B5EF4-FFF2-40B4-BE49-F238E27FC236}">
                <a16:creationId xmlns:a16="http://schemas.microsoft.com/office/drawing/2014/main" id="{3D01EF1B-E7BB-ECC0-D106-1F6F3C33AE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7845"/>
          <a:stretch>
            <a:fillRect/>
          </a:stretch>
        </p:blipFill>
        <p:spPr>
          <a:xfrm>
            <a:off x="6107420" y="1529566"/>
            <a:ext cx="5861669" cy="828785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0621538E-70F3-BF51-1B9C-F17066E2A6C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110"/>
          <a:stretch>
            <a:fillRect/>
          </a:stretch>
        </p:blipFill>
        <p:spPr>
          <a:xfrm>
            <a:off x="6857013" y="2395776"/>
            <a:ext cx="3884263" cy="855749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A7C94D2-3400-7C79-28E3-69ABDB240FEF}"/>
              </a:ext>
            </a:extLst>
          </p:cNvPr>
          <p:cNvSpPr txBox="1"/>
          <p:nvPr/>
        </p:nvSpPr>
        <p:spPr>
          <a:xfrm>
            <a:off x="6857013" y="4124266"/>
            <a:ext cx="499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/>
              <a:t>Now</a:t>
            </a:r>
            <a:r>
              <a:rPr lang="it-IT" dirty="0"/>
              <a:t>, with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acquired</a:t>
            </a:r>
            <a:r>
              <a:rPr lang="it-IT" dirty="0"/>
              <a:t> knowledge ….</a:t>
            </a:r>
            <a:endParaRPr lang="en-GB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BCD51B7-1ACC-3A86-1AFC-BDEFB460B08B}"/>
              </a:ext>
            </a:extLst>
          </p:cNvPr>
          <p:cNvSpPr txBox="1"/>
          <p:nvPr/>
        </p:nvSpPr>
        <p:spPr>
          <a:xfrm>
            <a:off x="787092" y="164777"/>
            <a:ext cx="7097108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patial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variability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of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hf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xchange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62493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65BB9-5F8D-CA55-376E-DAB46B428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8F3EED3-7CA7-C70D-2CFC-9BED28594B8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225150C-8584-728F-E1E6-90CEB87B0D7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7464FEAE-0196-32B8-CCBB-0034F1B26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D1D3BDF-309D-A717-B78A-41E6628DFD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01050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9BA94-6D72-B7F9-6C9B-E564A588B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92231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>
            <a:extLst>
              <a:ext uri="{FF2B5EF4-FFF2-40B4-BE49-F238E27FC236}">
                <a16:creationId xmlns:a16="http://schemas.microsoft.com/office/drawing/2014/main" id="{4F01CB1F-05AE-B8CD-0C67-CEDBE6AE2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0046" y="-1190381"/>
            <a:ext cx="13806367" cy="9238761"/>
          </a:xfrm>
          <a:prstGeom prst="rect">
            <a:avLst/>
          </a:prstGeom>
        </p:spPr>
      </p:pic>
      <p:sp>
        <p:nvSpPr>
          <p:cNvPr id="7" name="Freccia circolare in su 6">
            <a:extLst>
              <a:ext uri="{FF2B5EF4-FFF2-40B4-BE49-F238E27FC236}">
                <a16:creationId xmlns:a16="http://schemas.microsoft.com/office/drawing/2014/main" id="{8568668F-4D5A-D52E-FAAD-3B47BF1EA1B2}"/>
              </a:ext>
            </a:extLst>
          </p:cNvPr>
          <p:cNvSpPr/>
          <p:nvPr/>
        </p:nvSpPr>
        <p:spPr>
          <a:xfrm rot="18030848">
            <a:off x="7859850" y="4957503"/>
            <a:ext cx="429056" cy="302336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8" name="Freccia circolare in su 7">
            <a:extLst>
              <a:ext uri="{FF2B5EF4-FFF2-40B4-BE49-F238E27FC236}">
                <a16:creationId xmlns:a16="http://schemas.microsoft.com/office/drawing/2014/main" id="{6678E864-007B-7435-581E-021322D0C096}"/>
              </a:ext>
            </a:extLst>
          </p:cNvPr>
          <p:cNvSpPr/>
          <p:nvPr/>
        </p:nvSpPr>
        <p:spPr>
          <a:xfrm rot="9054508">
            <a:off x="7755012" y="4264024"/>
            <a:ext cx="429056" cy="319052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9" name="Freccia circolare in su 8">
            <a:extLst>
              <a:ext uri="{FF2B5EF4-FFF2-40B4-BE49-F238E27FC236}">
                <a16:creationId xmlns:a16="http://schemas.microsoft.com/office/drawing/2014/main" id="{F14434BF-11BC-85C5-112D-155C35497DDB}"/>
              </a:ext>
            </a:extLst>
          </p:cNvPr>
          <p:cNvSpPr/>
          <p:nvPr/>
        </p:nvSpPr>
        <p:spPr>
          <a:xfrm rot="11485598">
            <a:off x="6587334" y="4304361"/>
            <a:ext cx="429056" cy="302336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10" name="Freccia circolare in su 9">
            <a:extLst>
              <a:ext uri="{FF2B5EF4-FFF2-40B4-BE49-F238E27FC236}">
                <a16:creationId xmlns:a16="http://schemas.microsoft.com/office/drawing/2014/main" id="{F0827194-2490-B3B3-011A-7F889BFA5867}"/>
              </a:ext>
            </a:extLst>
          </p:cNvPr>
          <p:cNvSpPr/>
          <p:nvPr/>
        </p:nvSpPr>
        <p:spPr>
          <a:xfrm rot="4681794">
            <a:off x="6537711" y="4984117"/>
            <a:ext cx="429056" cy="302336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0474E69D-0D2A-9181-D2AA-8B2BB4749359}"/>
              </a:ext>
            </a:extLst>
          </p:cNvPr>
          <p:cNvGrpSpPr/>
          <p:nvPr/>
        </p:nvGrpSpPr>
        <p:grpSpPr>
          <a:xfrm>
            <a:off x="887685" y="4022231"/>
            <a:ext cx="2637706" cy="2092209"/>
            <a:chOff x="736981" y="4138615"/>
            <a:chExt cx="2714029" cy="2152747"/>
          </a:xfrm>
        </p:grpSpPr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C25729C2-99B5-3635-8DF3-C648831ECFC7}"/>
                </a:ext>
              </a:extLst>
            </p:cNvPr>
            <p:cNvGrpSpPr/>
            <p:nvPr/>
          </p:nvGrpSpPr>
          <p:grpSpPr>
            <a:xfrm>
              <a:off x="736981" y="4138615"/>
              <a:ext cx="1483568" cy="987959"/>
              <a:chOff x="858416" y="3931990"/>
              <a:chExt cx="1483568" cy="987959"/>
            </a:xfrm>
          </p:grpSpPr>
          <p:cxnSp>
            <p:nvCxnSpPr>
              <p:cNvPr id="33" name="Connettore 2 32">
                <a:extLst>
                  <a:ext uri="{FF2B5EF4-FFF2-40B4-BE49-F238E27FC236}">
                    <a16:creationId xmlns:a16="http://schemas.microsoft.com/office/drawing/2014/main" id="{36F1B81E-8360-BBDF-C323-DC8BA9AF9D68}"/>
                  </a:ext>
                </a:extLst>
              </p:cNvPr>
              <p:cNvCxnSpPr/>
              <p:nvPr/>
            </p:nvCxnSpPr>
            <p:spPr>
              <a:xfrm>
                <a:off x="858416" y="4394718"/>
                <a:ext cx="1483568" cy="525231"/>
              </a:xfrm>
              <a:prstGeom prst="straightConnector1">
                <a:avLst/>
              </a:prstGeom>
              <a:ln w="3810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nettore diritto 34">
                <a:extLst>
                  <a:ext uri="{FF2B5EF4-FFF2-40B4-BE49-F238E27FC236}">
                    <a16:creationId xmlns:a16="http://schemas.microsoft.com/office/drawing/2014/main" id="{C00A9132-D725-94FC-5286-ECC80A742105}"/>
                  </a:ext>
                </a:extLst>
              </p:cNvPr>
              <p:cNvCxnSpPr/>
              <p:nvPr/>
            </p:nvCxnSpPr>
            <p:spPr>
              <a:xfrm flipV="1">
                <a:off x="858416" y="3931990"/>
                <a:ext cx="0" cy="481390"/>
              </a:xfrm>
              <a:prstGeom prst="line">
                <a:avLst/>
              </a:prstGeom>
              <a:ln w="38100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" name="CasellaDiTesto 37">
              <a:extLst>
                <a:ext uri="{FF2B5EF4-FFF2-40B4-BE49-F238E27FC236}">
                  <a16:creationId xmlns:a16="http://schemas.microsoft.com/office/drawing/2014/main" id="{DA4D4646-86B8-E4F1-B64E-EC4894D1C529}"/>
                </a:ext>
              </a:extLst>
            </p:cNvPr>
            <p:cNvSpPr txBox="1"/>
            <p:nvPr/>
          </p:nvSpPr>
          <p:spPr>
            <a:xfrm rot="1206463">
              <a:off x="949595" y="4369328"/>
              <a:ext cx="666682" cy="371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749" dirty="0">
                  <a:solidFill>
                    <a:srgbClr val="FFFF00"/>
                  </a:solidFill>
                </a:rPr>
                <a:t>wind</a:t>
              </a:r>
            </a:p>
          </p:txBody>
        </p:sp>
        <p:cxnSp>
          <p:nvCxnSpPr>
            <p:cNvPr id="43" name="Connettore curvo 42">
              <a:extLst>
                <a:ext uri="{FF2B5EF4-FFF2-40B4-BE49-F238E27FC236}">
                  <a16:creationId xmlns:a16="http://schemas.microsoft.com/office/drawing/2014/main" id="{295B91A7-51EB-4FC4-4D58-1180665068F2}"/>
                </a:ext>
              </a:extLst>
            </p:cNvPr>
            <p:cNvCxnSpPr/>
            <p:nvPr/>
          </p:nvCxnSpPr>
          <p:spPr>
            <a:xfrm rot="10800000">
              <a:off x="1035561" y="5420769"/>
              <a:ext cx="1651518" cy="645480"/>
            </a:xfrm>
            <a:prstGeom prst="curvedConnector3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curvo 43">
              <a:extLst>
                <a:ext uri="{FF2B5EF4-FFF2-40B4-BE49-F238E27FC236}">
                  <a16:creationId xmlns:a16="http://schemas.microsoft.com/office/drawing/2014/main" id="{10D2123C-BA73-895A-515B-631E0279FDDE}"/>
                </a:ext>
              </a:extLst>
            </p:cNvPr>
            <p:cNvCxnSpPr/>
            <p:nvPr/>
          </p:nvCxnSpPr>
          <p:spPr>
            <a:xfrm rot="10800000">
              <a:off x="915981" y="5520545"/>
              <a:ext cx="1651518" cy="645480"/>
            </a:xfrm>
            <a:prstGeom prst="curvedConnector3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ttore curvo 44">
              <a:extLst>
                <a:ext uri="{FF2B5EF4-FFF2-40B4-BE49-F238E27FC236}">
                  <a16:creationId xmlns:a16="http://schemas.microsoft.com/office/drawing/2014/main" id="{26671840-DE51-D6C9-9024-4ECC8904E9A0}"/>
                </a:ext>
              </a:extLst>
            </p:cNvPr>
            <p:cNvCxnSpPr/>
            <p:nvPr/>
          </p:nvCxnSpPr>
          <p:spPr>
            <a:xfrm rot="10800000">
              <a:off x="824131" y="5645882"/>
              <a:ext cx="1651518" cy="645480"/>
            </a:xfrm>
            <a:prstGeom prst="curvedConnector3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CasellaDiTesto 45">
              <a:extLst>
                <a:ext uri="{FF2B5EF4-FFF2-40B4-BE49-F238E27FC236}">
                  <a16:creationId xmlns:a16="http://schemas.microsoft.com/office/drawing/2014/main" id="{077DAB16-F2FE-7EE1-6248-06AEC52D33D3}"/>
                </a:ext>
              </a:extLst>
            </p:cNvPr>
            <p:cNvSpPr txBox="1"/>
            <p:nvPr/>
          </p:nvSpPr>
          <p:spPr>
            <a:xfrm>
              <a:off x="2117911" y="5605435"/>
              <a:ext cx="13330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749" dirty="0" err="1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currents</a:t>
              </a:r>
              <a:endParaRPr lang="it-IT" sz="1749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67520DA9-1039-B74B-24DA-3CEF0185C563}"/>
              </a:ext>
            </a:extLst>
          </p:cNvPr>
          <p:cNvSpPr txBox="1"/>
          <p:nvPr/>
        </p:nvSpPr>
        <p:spPr>
          <a:xfrm>
            <a:off x="9204142" y="4504246"/>
            <a:ext cx="2719394" cy="568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110" dirty="0">
                <a:solidFill>
                  <a:srgbClr val="FF0000"/>
                </a:solidFill>
              </a:rPr>
              <a:t>SST, </a:t>
            </a:r>
            <a:r>
              <a:rPr lang="it-IT" sz="3110" dirty="0">
                <a:solidFill>
                  <a:srgbClr val="FFC000"/>
                </a:solidFill>
              </a:rPr>
              <a:t>q source</a:t>
            </a:r>
            <a:endParaRPr lang="it-IT" sz="3110" dirty="0">
              <a:solidFill>
                <a:srgbClr val="FF0000"/>
              </a:solidFill>
            </a:endParaRPr>
          </a:p>
        </p:txBody>
      </p:sp>
      <p:sp>
        <p:nvSpPr>
          <p:cNvPr id="42" name="Freccia in su 41">
            <a:extLst>
              <a:ext uri="{FF2B5EF4-FFF2-40B4-BE49-F238E27FC236}">
                <a16:creationId xmlns:a16="http://schemas.microsoft.com/office/drawing/2014/main" id="{EB18F5B4-5DE0-4FBA-4303-D1CE5BAD3ACD}"/>
              </a:ext>
            </a:extLst>
          </p:cNvPr>
          <p:cNvSpPr/>
          <p:nvPr/>
        </p:nvSpPr>
        <p:spPr>
          <a:xfrm rot="10800000">
            <a:off x="7089598" y="4260296"/>
            <a:ext cx="196545" cy="677547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48" name="Freccia in su 47">
            <a:extLst>
              <a:ext uri="{FF2B5EF4-FFF2-40B4-BE49-F238E27FC236}">
                <a16:creationId xmlns:a16="http://schemas.microsoft.com/office/drawing/2014/main" id="{EA70A377-12F9-6EDB-89AC-2FBA549D768A}"/>
              </a:ext>
            </a:extLst>
          </p:cNvPr>
          <p:cNvSpPr/>
          <p:nvPr/>
        </p:nvSpPr>
        <p:spPr>
          <a:xfrm>
            <a:off x="7425063" y="4243307"/>
            <a:ext cx="196545" cy="677547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49166B14-41C4-6149-E689-EFE49B30F8A9}"/>
              </a:ext>
            </a:extLst>
          </p:cNvPr>
          <p:cNvSpPr txBox="1"/>
          <p:nvPr/>
        </p:nvSpPr>
        <p:spPr>
          <a:xfrm>
            <a:off x="6709476" y="5288786"/>
            <a:ext cx="1948536" cy="628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749" dirty="0" err="1">
                <a:solidFill>
                  <a:srgbClr val="FFFF00"/>
                </a:solidFill>
              </a:rPr>
              <a:t>Turbulent</a:t>
            </a:r>
            <a:r>
              <a:rPr lang="it-IT" sz="1749" dirty="0">
                <a:solidFill>
                  <a:srgbClr val="FFFF00"/>
                </a:solidFill>
              </a:rPr>
              <a:t> </a:t>
            </a:r>
            <a:r>
              <a:rPr lang="it-IT" sz="1749" dirty="0" err="1">
                <a:solidFill>
                  <a:srgbClr val="FFFF00"/>
                </a:solidFill>
              </a:rPr>
              <a:t>fluxes</a:t>
            </a:r>
            <a:endParaRPr lang="it-IT" sz="1749" dirty="0">
              <a:solidFill>
                <a:srgbClr val="FFFF00"/>
              </a:solidFill>
            </a:endParaRPr>
          </a:p>
          <a:p>
            <a:r>
              <a:rPr lang="it-IT" sz="1749" dirty="0">
                <a:solidFill>
                  <a:srgbClr val="FFFF00"/>
                </a:solidFill>
              </a:rPr>
              <a:t>LHF, SHF</a:t>
            </a:r>
            <a:endParaRPr lang="en-GB" sz="1749" dirty="0">
              <a:solidFill>
                <a:srgbClr val="FFFF00"/>
              </a:solidFill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D2262DB-29AD-C971-13C7-6E53F9315E8A}"/>
              </a:ext>
            </a:extLst>
          </p:cNvPr>
          <p:cNvSpPr txBox="1"/>
          <p:nvPr/>
        </p:nvSpPr>
        <p:spPr>
          <a:xfrm>
            <a:off x="9618534" y="3952331"/>
            <a:ext cx="1713894" cy="568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110" dirty="0">
                <a:solidFill>
                  <a:schemeClr val="tx2">
                    <a:lumMod val="25000"/>
                    <a:lumOff val="75000"/>
                  </a:schemeClr>
                </a:solidFill>
              </a:rPr>
              <a:t>T , </a:t>
            </a:r>
            <a:r>
              <a:rPr lang="it-IT" sz="3110" dirty="0">
                <a:solidFill>
                  <a:srgbClr val="FFC000"/>
                </a:solidFill>
              </a:rPr>
              <a:t>q</a:t>
            </a:r>
            <a:r>
              <a:rPr lang="it-IT" sz="3110" dirty="0">
                <a:solidFill>
                  <a:schemeClr val="tx2">
                    <a:lumMod val="25000"/>
                    <a:lumOff val="75000"/>
                  </a:schemeClr>
                </a:solidFill>
              </a:rPr>
              <a:t> air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26E2E92-2B18-52FC-711A-0ECD6E720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4</a:t>
            </a:fld>
            <a:endParaRPr lang="en-GB"/>
          </a:p>
        </p:txBody>
      </p:sp>
      <p:sp>
        <p:nvSpPr>
          <p:cNvPr id="6" name="Figura a mano libera: forma 5">
            <a:extLst>
              <a:ext uri="{FF2B5EF4-FFF2-40B4-BE49-F238E27FC236}">
                <a16:creationId xmlns:a16="http://schemas.microsoft.com/office/drawing/2014/main" id="{D9F82DF6-EF5D-A875-A4F9-93ACBDB12A54}"/>
              </a:ext>
            </a:extLst>
          </p:cNvPr>
          <p:cNvSpPr/>
          <p:nvPr/>
        </p:nvSpPr>
        <p:spPr>
          <a:xfrm>
            <a:off x="1535799" y="3756527"/>
            <a:ext cx="10532125" cy="299383"/>
          </a:xfrm>
          <a:custGeom>
            <a:avLst/>
            <a:gdLst>
              <a:gd name="connsiteX0" fmla="*/ 0 w 10532125"/>
              <a:gd name="connsiteY0" fmla="*/ 297456 h 299383"/>
              <a:gd name="connsiteX1" fmla="*/ 341523 w 10532125"/>
              <a:gd name="connsiteY1" fmla="*/ 110169 h 299383"/>
              <a:gd name="connsiteX2" fmla="*/ 528810 w 10532125"/>
              <a:gd name="connsiteY2" fmla="*/ 110169 h 299383"/>
              <a:gd name="connsiteX3" fmla="*/ 738130 w 10532125"/>
              <a:gd name="connsiteY3" fmla="*/ 110169 h 299383"/>
              <a:gd name="connsiteX4" fmla="*/ 947451 w 10532125"/>
              <a:gd name="connsiteY4" fmla="*/ 198304 h 299383"/>
              <a:gd name="connsiteX5" fmla="*/ 1233889 w 10532125"/>
              <a:gd name="connsiteY5" fmla="*/ 264405 h 299383"/>
              <a:gd name="connsiteX6" fmla="*/ 1597446 w 10532125"/>
              <a:gd name="connsiteY6" fmla="*/ 297456 h 299383"/>
              <a:gd name="connsiteX7" fmla="*/ 1828800 w 10532125"/>
              <a:gd name="connsiteY7" fmla="*/ 209321 h 299383"/>
              <a:gd name="connsiteX8" fmla="*/ 2049137 w 10532125"/>
              <a:gd name="connsiteY8" fmla="*/ 143220 h 299383"/>
              <a:gd name="connsiteX9" fmla="*/ 2423711 w 10532125"/>
              <a:gd name="connsiteY9" fmla="*/ 88135 h 299383"/>
              <a:gd name="connsiteX10" fmla="*/ 2688116 w 10532125"/>
              <a:gd name="connsiteY10" fmla="*/ 176270 h 299383"/>
              <a:gd name="connsiteX11" fmla="*/ 2974554 w 10532125"/>
              <a:gd name="connsiteY11" fmla="*/ 242371 h 299383"/>
              <a:gd name="connsiteX12" fmla="*/ 3415229 w 10532125"/>
              <a:gd name="connsiteY12" fmla="*/ 275422 h 299383"/>
              <a:gd name="connsiteX13" fmla="*/ 3734718 w 10532125"/>
              <a:gd name="connsiteY13" fmla="*/ 220338 h 299383"/>
              <a:gd name="connsiteX14" fmla="*/ 4450814 w 10532125"/>
              <a:gd name="connsiteY14" fmla="*/ 165253 h 299383"/>
              <a:gd name="connsiteX15" fmla="*/ 4682169 w 10532125"/>
              <a:gd name="connsiteY15" fmla="*/ 209321 h 299383"/>
              <a:gd name="connsiteX16" fmla="*/ 4935557 w 10532125"/>
              <a:gd name="connsiteY16" fmla="*/ 275422 h 299383"/>
              <a:gd name="connsiteX17" fmla="*/ 5563518 w 10532125"/>
              <a:gd name="connsiteY17" fmla="*/ 165253 h 299383"/>
              <a:gd name="connsiteX18" fmla="*/ 6301648 w 10532125"/>
              <a:gd name="connsiteY18" fmla="*/ 55085 h 299383"/>
              <a:gd name="connsiteX19" fmla="*/ 6742323 w 10532125"/>
              <a:gd name="connsiteY19" fmla="*/ 66102 h 299383"/>
              <a:gd name="connsiteX20" fmla="*/ 6951643 w 10532125"/>
              <a:gd name="connsiteY20" fmla="*/ 132203 h 299383"/>
              <a:gd name="connsiteX21" fmla="*/ 7194014 w 10532125"/>
              <a:gd name="connsiteY21" fmla="*/ 132203 h 299383"/>
              <a:gd name="connsiteX22" fmla="*/ 7612655 w 10532125"/>
              <a:gd name="connsiteY22" fmla="*/ 132203 h 299383"/>
              <a:gd name="connsiteX23" fmla="*/ 7998246 w 10532125"/>
              <a:gd name="connsiteY23" fmla="*/ 121186 h 299383"/>
              <a:gd name="connsiteX24" fmla="*/ 8328752 w 10532125"/>
              <a:gd name="connsiteY24" fmla="*/ 66102 h 299383"/>
              <a:gd name="connsiteX25" fmla="*/ 8637224 w 10532125"/>
              <a:gd name="connsiteY25" fmla="*/ 0 h 299383"/>
              <a:gd name="connsiteX26" fmla="*/ 8923663 w 10532125"/>
              <a:gd name="connsiteY26" fmla="*/ 66102 h 299383"/>
              <a:gd name="connsiteX27" fmla="*/ 9066882 w 10532125"/>
              <a:gd name="connsiteY27" fmla="*/ 143220 h 299383"/>
              <a:gd name="connsiteX28" fmla="*/ 9364337 w 10532125"/>
              <a:gd name="connsiteY28" fmla="*/ 143220 h 299383"/>
              <a:gd name="connsiteX29" fmla="*/ 10168569 w 10532125"/>
              <a:gd name="connsiteY29" fmla="*/ 143220 h 299383"/>
              <a:gd name="connsiteX30" fmla="*/ 10421957 w 10532125"/>
              <a:gd name="connsiteY30" fmla="*/ 154237 h 299383"/>
              <a:gd name="connsiteX31" fmla="*/ 10532125 w 10532125"/>
              <a:gd name="connsiteY31" fmla="*/ 165253 h 299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532125" h="299383">
                <a:moveTo>
                  <a:pt x="0" y="297456"/>
                </a:moveTo>
                <a:cubicBezTo>
                  <a:pt x="126694" y="219419"/>
                  <a:pt x="253388" y="141383"/>
                  <a:pt x="341523" y="110169"/>
                </a:cubicBezTo>
                <a:cubicBezTo>
                  <a:pt x="429658" y="78955"/>
                  <a:pt x="528810" y="110169"/>
                  <a:pt x="528810" y="110169"/>
                </a:cubicBezTo>
                <a:cubicBezTo>
                  <a:pt x="594911" y="110169"/>
                  <a:pt x="668357" y="95480"/>
                  <a:pt x="738130" y="110169"/>
                </a:cubicBezTo>
                <a:cubicBezTo>
                  <a:pt x="807903" y="124858"/>
                  <a:pt x="864825" y="172598"/>
                  <a:pt x="947451" y="198304"/>
                </a:cubicBezTo>
                <a:cubicBezTo>
                  <a:pt x="1030078" y="224010"/>
                  <a:pt x="1125557" y="247880"/>
                  <a:pt x="1233889" y="264405"/>
                </a:cubicBezTo>
                <a:cubicBezTo>
                  <a:pt x="1342221" y="280930"/>
                  <a:pt x="1498294" y="306637"/>
                  <a:pt x="1597446" y="297456"/>
                </a:cubicBezTo>
                <a:cubicBezTo>
                  <a:pt x="1696598" y="288275"/>
                  <a:pt x="1753518" y="235027"/>
                  <a:pt x="1828800" y="209321"/>
                </a:cubicBezTo>
                <a:cubicBezTo>
                  <a:pt x="1904082" y="183615"/>
                  <a:pt x="1949985" y="163418"/>
                  <a:pt x="2049137" y="143220"/>
                </a:cubicBezTo>
                <a:cubicBezTo>
                  <a:pt x="2148289" y="123022"/>
                  <a:pt x="2317215" y="82627"/>
                  <a:pt x="2423711" y="88135"/>
                </a:cubicBezTo>
                <a:cubicBezTo>
                  <a:pt x="2530207" y="93643"/>
                  <a:pt x="2596309" y="150564"/>
                  <a:pt x="2688116" y="176270"/>
                </a:cubicBezTo>
                <a:cubicBezTo>
                  <a:pt x="2779923" y="201976"/>
                  <a:pt x="2853369" y="225846"/>
                  <a:pt x="2974554" y="242371"/>
                </a:cubicBezTo>
                <a:cubicBezTo>
                  <a:pt x="3095740" y="258896"/>
                  <a:pt x="3288535" y="279094"/>
                  <a:pt x="3415229" y="275422"/>
                </a:cubicBezTo>
                <a:cubicBezTo>
                  <a:pt x="3541923" y="271750"/>
                  <a:pt x="3562121" y="238699"/>
                  <a:pt x="3734718" y="220338"/>
                </a:cubicBezTo>
                <a:cubicBezTo>
                  <a:pt x="3907315" y="201977"/>
                  <a:pt x="4292906" y="167089"/>
                  <a:pt x="4450814" y="165253"/>
                </a:cubicBezTo>
                <a:cubicBezTo>
                  <a:pt x="4608722" y="163417"/>
                  <a:pt x="4601379" y="190960"/>
                  <a:pt x="4682169" y="209321"/>
                </a:cubicBezTo>
                <a:cubicBezTo>
                  <a:pt x="4762959" y="227682"/>
                  <a:pt x="4788666" y="282767"/>
                  <a:pt x="4935557" y="275422"/>
                </a:cubicBezTo>
                <a:cubicBezTo>
                  <a:pt x="5082448" y="268077"/>
                  <a:pt x="5335836" y="201976"/>
                  <a:pt x="5563518" y="165253"/>
                </a:cubicBezTo>
                <a:cubicBezTo>
                  <a:pt x="5791200" y="128530"/>
                  <a:pt x="6105181" y="71610"/>
                  <a:pt x="6301648" y="55085"/>
                </a:cubicBezTo>
                <a:cubicBezTo>
                  <a:pt x="6498116" y="38560"/>
                  <a:pt x="6633991" y="53249"/>
                  <a:pt x="6742323" y="66102"/>
                </a:cubicBezTo>
                <a:cubicBezTo>
                  <a:pt x="6850656" y="78955"/>
                  <a:pt x="6876361" y="121186"/>
                  <a:pt x="6951643" y="132203"/>
                </a:cubicBezTo>
                <a:cubicBezTo>
                  <a:pt x="7026925" y="143220"/>
                  <a:pt x="7194014" y="132203"/>
                  <a:pt x="7194014" y="132203"/>
                </a:cubicBezTo>
                <a:lnTo>
                  <a:pt x="7612655" y="132203"/>
                </a:lnTo>
                <a:cubicBezTo>
                  <a:pt x="7746694" y="130367"/>
                  <a:pt x="7878896" y="132203"/>
                  <a:pt x="7998246" y="121186"/>
                </a:cubicBezTo>
                <a:cubicBezTo>
                  <a:pt x="8117596" y="110169"/>
                  <a:pt x="8222256" y="86300"/>
                  <a:pt x="8328752" y="66102"/>
                </a:cubicBezTo>
                <a:cubicBezTo>
                  <a:pt x="8435248" y="45904"/>
                  <a:pt x="8538072" y="0"/>
                  <a:pt x="8637224" y="0"/>
                </a:cubicBezTo>
                <a:cubicBezTo>
                  <a:pt x="8736376" y="0"/>
                  <a:pt x="8852053" y="42232"/>
                  <a:pt x="8923663" y="66102"/>
                </a:cubicBezTo>
                <a:cubicBezTo>
                  <a:pt x="8995273" y="89972"/>
                  <a:pt x="8993436" y="130367"/>
                  <a:pt x="9066882" y="143220"/>
                </a:cubicBezTo>
                <a:cubicBezTo>
                  <a:pt x="9140328" y="156073"/>
                  <a:pt x="9364337" y="143220"/>
                  <a:pt x="9364337" y="143220"/>
                </a:cubicBezTo>
                <a:lnTo>
                  <a:pt x="10168569" y="143220"/>
                </a:lnTo>
                <a:cubicBezTo>
                  <a:pt x="10344839" y="145056"/>
                  <a:pt x="10361364" y="150565"/>
                  <a:pt x="10421957" y="154237"/>
                </a:cubicBezTo>
                <a:cubicBezTo>
                  <a:pt x="10482550" y="157909"/>
                  <a:pt x="10507337" y="161581"/>
                  <a:pt x="10532125" y="165253"/>
                </a:cubicBezTo>
              </a:path>
            </a:pathLst>
          </a:cu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C425D67-12BE-9072-4448-A5C0F94AD732}"/>
              </a:ext>
            </a:extLst>
          </p:cNvPr>
          <p:cNvSpPr txBox="1"/>
          <p:nvPr/>
        </p:nvSpPr>
        <p:spPr>
          <a:xfrm>
            <a:off x="10240691" y="3273466"/>
            <a:ext cx="19586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/>
              <a:t>Boundary</a:t>
            </a:r>
            <a:r>
              <a:rPr lang="it-IT" sz="2000" dirty="0"/>
              <a:t> Layer </a:t>
            </a:r>
          </a:p>
        </p:txBody>
      </p:sp>
    </p:spTree>
    <p:extLst>
      <p:ext uri="{BB962C8B-B14F-4D97-AF65-F5344CB8AC3E}">
        <p14:creationId xmlns:p14="http://schemas.microsoft.com/office/powerpoint/2010/main" val="2488225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47" grpId="0"/>
      <p:bldP spid="42" grpId="0" animBg="1"/>
      <p:bldP spid="48" grpId="0" animBg="1"/>
      <p:bldP spid="49" grpId="0"/>
      <p:bldP spid="2" grpId="0"/>
      <p:bldP spid="6" grpId="0" animBg="1"/>
      <p:bldP spid="1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FF616DA8-0382-A889-768C-C1BCB2F52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7605" y="838982"/>
            <a:ext cx="8244395" cy="5585613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02DB02E8-F66A-8A99-FBCE-5AD969E5CC0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39" r="49728" b="50008"/>
          <a:stretch>
            <a:fillRect/>
          </a:stretch>
        </p:blipFill>
        <p:spPr>
          <a:xfrm>
            <a:off x="179109" y="2686639"/>
            <a:ext cx="3229845" cy="2496153"/>
          </a:xfrm>
          <a:prstGeom prst="rect">
            <a:avLst/>
          </a:prstGeom>
        </p:spPr>
      </p:pic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E6A22E0D-01CF-55EB-F40D-7CF9787EDDE2}"/>
              </a:ext>
            </a:extLst>
          </p:cNvPr>
          <p:cNvCxnSpPr>
            <a:cxnSpLocks/>
          </p:cNvCxnSpPr>
          <p:nvPr/>
        </p:nvCxnSpPr>
        <p:spPr>
          <a:xfrm>
            <a:off x="2715414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8AA0D39-BBA6-9EE9-0306-0560FCC361BC}"/>
              </a:ext>
            </a:extLst>
          </p:cNvPr>
          <p:cNvSpPr txBox="1"/>
          <p:nvPr/>
        </p:nvSpPr>
        <p:spPr>
          <a:xfrm>
            <a:off x="2218156" y="136525"/>
            <a:ext cx="7755688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Vertical MABL </a:t>
            </a:r>
            <a:r>
              <a:rPr lang="it-IT" sz="2721" b="1" dirty="0" err="1"/>
              <a:t>response</a:t>
            </a:r>
            <a:r>
              <a:rPr lang="it-IT" sz="2721" b="1" dirty="0"/>
              <a:t> in a </a:t>
            </a:r>
            <a:r>
              <a:rPr lang="it-IT" sz="2721" b="1" dirty="0" err="1"/>
              <a:t>coupled</a:t>
            </a:r>
            <a:r>
              <a:rPr lang="it-IT" sz="2721" b="1" dirty="0"/>
              <a:t> </a:t>
            </a:r>
            <a:r>
              <a:rPr lang="it-IT" sz="2721" b="1" dirty="0" err="1"/>
              <a:t>simulation</a:t>
            </a:r>
            <a:endParaRPr lang="it-IT" sz="1944" b="1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408DBC0-6517-AFA3-A8D3-97EAC6BA9B0F}"/>
              </a:ext>
            </a:extLst>
          </p:cNvPr>
          <p:cNvSpPr txBox="1"/>
          <p:nvPr/>
        </p:nvSpPr>
        <p:spPr>
          <a:xfrm>
            <a:off x="179108" y="1084958"/>
            <a:ext cx="44683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a)  </a:t>
            </a:r>
            <a:r>
              <a:rPr lang="it-IT" dirty="0" err="1"/>
              <a:t>Fully-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  <a:p>
            <a:endParaRPr lang="it-IT" dirty="0"/>
          </a:p>
          <a:p>
            <a:pPr marL="342900" indent="-342900">
              <a:buFontTx/>
              <a:buAutoNum type="alphaLcParenR" startAt="2"/>
            </a:pPr>
            <a:r>
              <a:rPr lang="it-IT" dirty="0" err="1"/>
              <a:t>Fixed</a:t>
            </a:r>
            <a:r>
              <a:rPr lang="it-IT" dirty="0"/>
              <a:t> scale of </a:t>
            </a:r>
            <a:r>
              <a:rPr lang="it-IT" dirty="0" err="1"/>
              <a:t>interest</a:t>
            </a:r>
            <a:r>
              <a:rPr lang="it-IT" dirty="0"/>
              <a:t> &lt; </a:t>
            </a:r>
            <a:r>
              <a:rPr lang="en-GB" dirty="0"/>
              <a:t>~</a:t>
            </a:r>
            <a:r>
              <a:rPr lang="it-IT" dirty="0"/>
              <a:t>150km</a:t>
            </a:r>
          </a:p>
          <a:p>
            <a:r>
              <a:rPr lang="it-IT" dirty="0">
                <a:sym typeface="Wingdings" panose="05000000000000000000" pitchFamily="2" charset="2"/>
              </a:rPr>
              <a:t>        correlate SST’ with </a:t>
            </a:r>
            <a:r>
              <a:rPr lang="it-IT" dirty="0" err="1">
                <a:sym typeface="Wingdings" panose="05000000000000000000" pitchFamily="2" charset="2"/>
              </a:rPr>
              <a:t>atmosphere</a:t>
            </a:r>
            <a:endParaRPr lang="en-GB" dirty="0"/>
          </a:p>
        </p:txBody>
      </p:sp>
      <p:sp>
        <p:nvSpPr>
          <p:cNvPr id="10" name="Segnaposto numero diapositiva 9">
            <a:extLst>
              <a:ext uri="{FF2B5EF4-FFF2-40B4-BE49-F238E27FC236}">
                <a16:creationId xmlns:a16="http://schemas.microsoft.com/office/drawing/2014/main" id="{77E1A2A0-0E64-3779-7D62-B324D6E3C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5</a:t>
            </a:fld>
            <a:endParaRPr lang="it-IT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75BA1916-5F77-479C-5BDA-541A90258C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74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7F52A313-436F-8FC7-BCBE-0FB06746DE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571" y="939380"/>
            <a:ext cx="7127997" cy="5515214"/>
          </a:xfrm>
          <a:prstGeom prst="rect">
            <a:avLst/>
          </a:prstGeom>
        </p:spPr>
      </p:pic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4E8694DC-658B-6460-8C27-2E4054971020}"/>
              </a:ext>
            </a:extLst>
          </p:cNvPr>
          <p:cNvCxnSpPr>
            <a:cxnSpLocks/>
          </p:cNvCxnSpPr>
          <p:nvPr/>
        </p:nvCxnSpPr>
        <p:spPr>
          <a:xfrm>
            <a:off x="2715414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47387D-88E0-E8CB-573C-B40AF4413E6D}"/>
              </a:ext>
            </a:extLst>
          </p:cNvPr>
          <p:cNvSpPr txBox="1"/>
          <p:nvPr/>
        </p:nvSpPr>
        <p:spPr>
          <a:xfrm>
            <a:off x="2218156" y="136525"/>
            <a:ext cx="7755688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Two </a:t>
            </a:r>
            <a:r>
              <a:rPr lang="it-IT" sz="2721" b="1" dirty="0" err="1"/>
              <a:t>conceptual</a:t>
            </a:r>
            <a:r>
              <a:rPr lang="it-IT" sz="2721" b="1" dirty="0"/>
              <a:t> </a:t>
            </a:r>
            <a:r>
              <a:rPr lang="it-IT" sz="2721" b="1" dirty="0" err="1"/>
              <a:t>scenarios</a:t>
            </a:r>
            <a:endParaRPr lang="it-IT" sz="1944" b="1" dirty="0"/>
          </a:p>
        </p:txBody>
      </p:sp>
    </p:spTree>
    <p:extLst>
      <p:ext uri="{BB962C8B-B14F-4D97-AF65-F5344CB8AC3E}">
        <p14:creationId xmlns:p14="http://schemas.microsoft.com/office/powerpoint/2010/main" val="32084220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2DA2435-BF90-3B56-6537-612F32523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512" y="904875"/>
            <a:ext cx="9324975" cy="5048250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89CAE8D-8675-B032-C36A-BFC3C3A75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7</a:t>
            </a:fld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CE3FB3D-47DF-BCA4-A21E-1C57FA047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A10D8FEC-D4F6-8508-9AEB-9136A04CB83E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Upscaling</a:t>
            </a:r>
            <a:r>
              <a:rPr lang="it-IT" sz="2721" b="1" dirty="0"/>
              <a:t> </a:t>
            </a:r>
            <a:r>
              <a:rPr lang="it-IT" sz="2721" b="1" dirty="0" err="1"/>
              <a:t>effect</a:t>
            </a:r>
            <a:r>
              <a:rPr lang="it-IT" sz="2721" b="1" dirty="0"/>
              <a:t> in LHF </a:t>
            </a:r>
            <a:r>
              <a:rPr lang="it-IT" sz="2721" b="1" dirty="0" err="1"/>
              <a:t>modulation</a:t>
            </a:r>
            <a:endParaRPr lang="it-IT" sz="1944" b="1" dirty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C71616D7-F1D8-629E-F9A4-EE39ADD87FC2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84641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05003AC-27D6-710A-028C-F60CCB4C4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809" y="1693023"/>
            <a:ext cx="9364382" cy="3886742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40036FA6-F42F-B3E6-D515-AB2CB032518F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Backup</a:t>
            </a:r>
            <a:endParaRPr lang="it-IT" sz="1944" b="1" dirty="0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6D9C25DB-BA74-D89A-CAF5-B3C29835DB90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2601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149F7B5-8969-09F4-0FB0-7FC41B027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7296F491-F9E8-B5EF-9FD1-9D5E7B2C1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9</a:t>
            </a:fld>
            <a:endParaRPr lang="en-GB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2A5D2F48-F988-F48B-279E-AA3D2F7E8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/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𝑆𝐻𝐹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⟨"/>
                          <m:endChr m:val="⟩"/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−⟨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⟩</m:t>
                          </m:r>
                        </m:e>
                      </m:d>
                    </m:oMath>
                  </m:oMathPara>
                </a14:m>
                <a:endParaRPr lang="it-IT" sz="2333" i="1" dirty="0">
                  <a:latin typeface="Cambria Math" panose="02040503050406030204" pitchFamily="18" charset="0"/>
                </a:endParaRPr>
              </a:p>
              <a:p>
                <a:endParaRPr lang="it-IT" sz="2333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333" dirty="0"/>
              </a:p>
              <a:p>
                <a:endParaRPr lang="it-IT" sz="2333" dirty="0"/>
              </a:p>
              <a:p>
                <a:pPr algn="ctr"/>
                <a:r>
                  <a:rPr lang="it-IT" sz="1749" dirty="0" err="1"/>
                  <a:t>Where</a:t>
                </a:r>
                <a:r>
                  <a:rPr lang="it-IT" sz="1749" dirty="0"/>
                  <a:t>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sz="1749" dirty="0"/>
                  <a:t>   is </a:t>
                </a:r>
                <a:r>
                  <a:rPr lang="it-IT" sz="1749" dirty="0" err="1"/>
                  <a:t>Clausius-Clapeyron</a:t>
                </a:r>
                <a:r>
                  <a:rPr lang="it-IT" sz="1749" dirty="0"/>
                  <a:t> (CC)</a:t>
                </a:r>
              </a:p>
              <a:p>
                <a:endParaRPr lang="it-IT" sz="2333" dirty="0"/>
              </a:p>
              <a:p>
                <a:endParaRPr lang="it-IT" sz="2333" dirty="0"/>
              </a:p>
              <a:p>
                <a:endParaRPr lang="it-IT" sz="2333" dirty="0"/>
              </a:p>
            </p:txBody>
          </p:sp>
        </mc:Choice>
        <mc:Fallback xmlns="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/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𝑠𝑒𝑛𝑠𝑖𝑡𝑖𝑣𝑖𝑡𝑖𝑒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 ==  </m:t>
                      </m:r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𝐻𝐹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den>
                      </m:f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ttangolo 4">
            <a:extLst>
              <a:ext uri="{FF2B5EF4-FFF2-40B4-BE49-F238E27FC236}">
                <a16:creationId xmlns:a16="http://schemas.microsoft.com/office/drawing/2014/main" id="{A1829AD5-15BF-6D9B-F51E-7F336B726DD3}"/>
              </a:ext>
            </a:extLst>
          </p:cNvPr>
          <p:cNvSpPr/>
          <p:nvPr/>
        </p:nvSpPr>
        <p:spPr>
          <a:xfrm>
            <a:off x="6789203" y="4715874"/>
            <a:ext cx="2115459" cy="3651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F7CCBBD-F5DA-60A8-4C4F-2320957C49A9}"/>
              </a:ext>
            </a:extLst>
          </p:cNvPr>
          <p:cNvSpPr/>
          <p:nvPr/>
        </p:nvSpPr>
        <p:spPr>
          <a:xfrm rot="10800000">
            <a:off x="8903118" y="4715873"/>
            <a:ext cx="2115459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E7466CC-AC5A-97D9-F587-E862DBA8DFB5}"/>
              </a:ext>
            </a:extLst>
          </p:cNvPr>
          <p:cNvSpPr txBox="1"/>
          <p:nvPr/>
        </p:nvSpPr>
        <p:spPr>
          <a:xfrm>
            <a:off x="6780640" y="5272163"/>
            <a:ext cx="962299" cy="35894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lt; 0 </a:t>
            </a:r>
            <a:endParaRPr lang="en-GB" sz="1749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025D8EDF-2476-0AE7-CBC2-16DDC57F1B01}"/>
              </a:ext>
            </a:extLst>
          </p:cNvPr>
          <p:cNvSpPr txBox="1"/>
          <p:nvPr/>
        </p:nvSpPr>
        <p:spPr>
          <a:xfrm>
            <a:off x="10056280" y="5272163"/>
            <a:ext cx="962299" cy="358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gt; 0 </a:t>
            </a:r>
            <a:endParaRPr lang="en-GB" sz="1749" dirty="0"/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0B08F148-195E-BB20-2B48-BD2C741AEB02}"/>
              </a:ext>
            </a:extLst>
          </p:cNvPr>
          <p:cNvCxnSpPr>
            <a:cxnSpLocks/>
          </p:cNvCxnSpPr>
          <p:nvPr/>
        </p:nvCxnSpPr>
        <p:spPr>
          <a:xfrm>
            <a:off x="6533611" y="2363526"/>
            <a:ext cx="5012676" cy="0"/>
          </a:xfrm>
          <a:prstGeom prst="line">
            <a:avLst/>
          </a:prstGeom>
          <a:ln w="381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620AE00-3301-1D45-43CC-C97ED01D2ABE}"/>
              </a:ext>
            </a:extLst>
          </p:cNvPr>
          <p:cNvSpPr txBox="1"/>
          <p:nvPr/>
        </p:nvSpPr>
        <p:spPr>
          <a:xfrm>
            <a:off x="10502116" y="1811879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p:sp>
        <p:nvSpPr>
          <p:cNvPr id="14" name="Freccia in su 13">
            <a:extLst>
              <a:ext uri="{FF2B5EF4-FFF2-40B4-BE49-F238E27FC236}">
                <a16:creationId xmlns:a16="http://schemas.microsoft.com/office/drawing/2014/main" id="{DC03827C-5803-7958-07E5-CA0D64CB999B}"/>
              </a:ext>
            </a:extLst>
          </p:cNvPr>
          <p:cNvSpPr/>
          <p:nvPr/>
        </p:nvSpPr>
        <p:spPr>
          <a:xfrm rot="10800000">
            <a:off x="7023416" y="3862691"/>
            <a:ext cx="359784" cy="791549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F9107B3-86A8-EF0A-1663-1EA457D35EE8}"/>
              </a:ext>
            </a:extLst>
          </p:cNvPr>
          <p:cNvSpPr txBox="1"/>
          <p:nvPr/>
        </p:nvSpPr>
        <p:spPr>
          <a:xfrm>
            <a:off x="7455717" y="4036140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063C2DFD-976B-577C-C356-FCC4FE108726}"/>
              </a:ext>
            </a:extLst>
          </p:cNvPr>
          <p:cNvSpPr txBox="1"/>
          <p:nvPr/>
        </p:nvSpPr>
        <p:spPr>
          <a:xfrm>
            <a:off x="9536825" y="4071337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20" name="Freccia in su 19">
            <a:extLst>
              <a:ext uri="{FF2B5EF4-FFF2-40B4-BE49-F238E27FC236}">
                <a16:creationId xmlns:a16="http://schemas.microsoft.com/office/drawing/2014/main" id="{3372F20B-B918-7077-AEF1-1FBA918B9BFC}"/>
              </a:ext>
            </a:extLst>
          </p:cNvPr>
          <p:cNvSpPr/>
          <p:nvPr/>
        </p:nvSpPr>
        <p:spPr>
          <a:xfrm>
            <a:off x="10640417" y="3862690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9AC07FB2-6C24-E718-F325-0963DF5CC312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Sensitivity</a:t>
            </a:r>
            <a:r>
              <a:rPr lang="it-IT" sz="2721" b="1" dirty="0"/>
              <a:t> of </a:t>
            </a:r>
            <a:r>
              <a:rPr lang="it-IT" sz="2721" b="1" dirty="0" err="1"/>
              <a:t>surface</a:t>
            </a:r>
            <a:r>
              <a:rPr lang="it-IT" sz="2721" b="1" dirty="0"/>
              <a:t> </a:t>
            </a:r>
            <a:r>
              <a:rPr lang="it-IT" sz="2721" b="1" dirty="0" err="1"/>
              <a:t>fluxes</a:t>
            </a:r>
            <a:r>
              <a:rPr lang="it-IT" sz="2721" b="1" dirty="0"/>
              <a:t> to SST</a:t>
            </a:r>
            <a:endParaRPr lang="it-IT" sz="1944" b="1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0BEE01-9643-F665-550A-06536EBDDC3D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Segnaposto piè di pagina 1">
            <a:extLst>
              <a:ext uri="{FF2B5EF4-FFF2-40B4-BE49-F238E27FC236}">
                <a16:creationId xmlns:a16="http://schemas.microsoft.com/office/drawing/2014/main" id="{BC225A03-7E02-2006-636E-E720840F4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22515" y="6356351"/>
            <a:ext cx="5146971" cy="365125"/>
          </a:xfrm>
        </p:spPr>
        <p:txBody>
          <a:bodyPr/>
          <a:lstStyle/>
          <a:p>
            <a:r>
              <a:rPr lang="en-GB" dirty="0"/>
              <a:t>Alessandro Storer - alessandro.storer@unimib.it -  </a:t>
            </a:r>
            <a:r>
              <a:rPr lang="en-GB" dirty="0" err="1"/>
              <a:t>Meteo</a:t>
            </a:r>
            <a:r>
              <a:rPr lang="en-GB" dirty="0"/>
              <a:t> </a:t>
            </a:r>
            <a:r>
              <a:rPr lang="en-GB" dirty="0" err="1"/>
              <a:t>XChange</a:t>
            </a:r>
            <a:r>
              <a:rPr lang="en-GB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2457948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DBBFD72-30E3-B329-237E-395254BC4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FF427A-78BD-FAC9-78D9-C91E60E00F37}"/>
              </a:ext>
            </a:extLst>
          </p:cNvPr>
          <p:cNvSpPr txBox="1"/>
          <p:nvPr/>
        </p:nvSpPr>
        <p:spPr>
          <a:xfrm>
            <a:off x="1964288" y="1508945"/>
            <a:ext cx="72946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BSc</a:t>
            </a:r>
            <a:r>
              <a:rPr lang="it-IT" b="1" dirty="0"/>
              <a:t>. in </a:t>
            </a:r>
            <a:r>
              <a:rPr lang="it-IT" b="1" dirty="0" err="1"/>
              <a:t>Physics</a:t>
            </a:r>
            <a:r>
              <a:rPr lang="it-IT" b="1" dirty="0"/>
              <a:t> </a:t>
            </a:r>
          </a:p>
          <a:p>
            <a:r>
              <a:rPr lang="it-IT" sz="1600" b="1" dirty="0"/>
              <a:t>University of Milan</a:t>
            </a:r>
            <a:endParaRPr lang="it-IT" sz="1200" b="1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D7DCAFF-848A-AEB6-8961-DC757B6D9D14}"/>
              </a:ext>
            </a:extLst>
          </p:cNvPr>
          <p:cNvSpPr txBox="1"/>
          <p:nvPr/>
        </p:nvSpPr>
        <p:spPr>
          <a:xfrm>
            <a:off x="1986017" y="2579455"/>
            <a:ext cx="785509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MSc</a:t>
            </a:r>
            <a:r>
              <a:rPr lang="it-IT" b="1" dirty="0"/>
              <a:t>. in </a:t>
            </a:r>
            <a:r>
              <a:rPr lang="it-IT" b="1" dirty="0" err="1"/>
              <a:t>Environmental</a:t>
            </a:r>
            <a:r>
              <a:rPr lang="it-IT" b="1" dirty="0"/>
              <a:t> </a:t>
            </a:r>
            <a:r>
              <a:rPr lang="it-IT" b="1" dirty="0" err="1"/>
              <a:t>Meteorology</a:t>
            </a:r>
            <a:r>
              <a:rPr lang="it-IT" sz="1400" dirty="0"/>
              <a:t>    </a:t>
            </a:r>
          </a:p>
          <a:p>
            <a:r>
              <a:rPr lang="it-IT" sz="1600" b="1" dirty="0"/>
              <a:t>University of Trento - University of Innsbruck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F4F63C0-8E77-45D9-D03B-6EAD2BF781A9}"/>
              </a:ext>
            </a:extLst>
          </p:cNvPr>
          <p:cNvSpPr txBox="1"/>
          <p:nvPr/>
        </p:nvSpPr>
        <p:spPr>
          <a:xfrm>
            <a:off x="1982916" y="3378068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Junior </a:t>
            </a:r>
            <a:r>
              <a:rPr lang="it-IT" b="1" dirty="0" err="1"/>
              <a:t>research</a:t>
            </a:r>
            <a:r>
              <a:rPr lang="it-IT" b="1" dirty="0"/>
              <a:t> </a:t>
            </a:r>
            <a:r>
              <a:rPr lang="it-IT" b="1" dirty="0" err="1"/>
              <a:t>assistant</a:t>
            </a:r>
            <a:r>
              <a:rPr lang="it-IT" b="1" dirty="0"/>
              <a:t>  </a:t>
            </a:r>
          </a:p>
          <a:p>
            <a:r>
              <a:rPr lang="en-US" sz="1600" b="1" dirty="0"/>
              <a:t>University of Milan Bicocca – </a:t>
            </a:r>
            <a:r>
              <a:rPr lang="en-US" sz="1600" b="1" i="1" dirty="0"/>
              <a:t>sup. Prof. Claudia </a:t>
            </a:r>
            <a:r>
              <a:rPr lang="en-US" sz="1600" b="1" i="1" dirty="0" err="1"/>
              <a:t>Pasquero</a:t>
            </a:r>
            <a:endParaRPr lang="en-US" b="1" i="1" dirty="0"/>
          </a:p>
          <a:p>
            <a:r>
              <a:rPr lang="en-US" sz="1400" dirty="0">
                <a:sym typeface="Wingdings" panose="05000000000000000000" pitchFamily="2" charset="2"/>
              </a:rPr>
              <a:t>One</a:t>
            </a:r>
            <a:r>
              <a:rPr lang="en-US" sz="1400" i="1" dirty="0">
                <a:sym typeface="Wingdings" panose="05000000000000000000" pitchFamily="2" charset="2"/>
              </a:rPr>
              <a:t> proceeding </a:t>
            </a:r>
            <a:r>
              <a:rPr lang="en-US" sz="1400" dirty="0">
                <a:sym typeface="Wingdings" panose="05000000000000000000" pitchFamily="2" charset="2"/>
              </a:rPr>
              <a:t>(accepted) and one full article (under rev.)</a:t>
            </a:r>
          </a:p>
        </p:txBody>
      </p:sp>
      <p:pic>
        <p:nvPicPr>
          <p:cNvPr id="15" name="Immagine 14" descr="Immagine che contiene aria aperta, vestiti, persona, cielo&#10;&#10;Il contenuto generato dall'IA potrebbe non essere corretto.">
            <a:extLst>
              <a:ext uri="{FF2B5EF4-FFF2-40B4-BE49-F238E27FC236}">
                <a16:creationId xmlns:a16="http://schemas.microsoft.com/office/drawing/2014/main" id="{A6835879-7FE9-EBC2-2B1F-1649BF982A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3782" b="10263"/>
          <a:stretch/>
        </p:blipFill>
        <p:spPr>
          <a:xfrm>
            <a:off x="8550798" y="1265170"/>
            <a:ext cx="2807012" cy="4320590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D247D84A-A072-9D28-A789-A08B2008D504}"/>
              </a:ext>
            </a:extLst>
          </p:cNvPr>
          <p:cNvCxnSpPr>
            <a:cxnSpLocks/>
          </p:cNvCxnSpPr>
          <p:nvPr/>
        </p:nvCxnSpPr>
        <p:spPr>
          <a:xfrm>
            <a:off x="83108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03779DF-B28B-7559-E243-729050AE2584}"/>
              </a:ext>
            </a:extLst>
          </p:cNvPr>
          <p:cNvSpPr txBox="1"/>
          <p:nvPr/>
        </p:nvSpPr>
        <p:spPr>
          <a:xfrm>
            <a:off x="1964288" y="4857496"/>
            <a:ext cx="1103444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PhD candidate</a:t>
            </a:r>
          </a:p>
          <a:p>
            <a:r>
              <a:rPr lang="de-DE" sz="1600" b="1" dirty="0" err="1"/>
              <a:t>Scale</a:t>
            </a:r>
            <a:r>
              <a:rPr lang="de-DE" sz="1600" b="1" dirty="0"/>
              <a:t> Interaction Modelling </a:t>
            </a:r>
            <a:r>
              <a:rPr lang="de-DE" sz="1600" b="1" dirty="0" err="1"/>
              <a:t>group</a:t>
            </a:r>
            <a:r>
              <a:rPr lang="de-DE" sz="1600" b="1" dirty="0"/>
              <a:t> – </a:t>
            </a:r>
            <a:r>
              <a:rPr lang="de-DE" sz="1600" b="1" i="1" dirty="0" err="1"/>
              <a:t>sup</a:t>
            </a:r>
            <a:r>
              <a:rPr lang="de-DE" sz="1600" b="1" i="1" dirty="0"/>
              <a:t>. Dr. Hans Segura</a:t>
            </a:r>
            <a:endParaRPr lang="en-US" sz="1600" b="1" dirty="0"/>
          </a:p>
        </p:txBody>
      </p:sp>
      <p:sp>
        <p:nvSpPr>
          <p:cNvPr id="18" name="Titolo 5">
            <a:extLst>
              <a:ext uri="{FF2B5EF4-FFF2-40B4-BE49-F238E27FC236}">
                <a16:creationId xmlns:a16="http://schemas.microsoft.com/office/drawing/2014/main" id="{6D80499C-91E8-2A4A-1025-ED417EFC3A4B}"/>
              </a:ext>
            </a:extLst>
          </p:cNvPr>
          <p:cNvSpPr txBox="1">
            <a:spLocks/>
          </p:cNvSpPr>
          <p:nvPr/>
        </p:nvSpPr>
        <p:spPr>
          <a:xfrm>
            <a:off x="490539" y="255375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cadem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formatio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nd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urr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ctivity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08744E00-E198-B01E-8240-6739C7BA68DB}"/>
              </a:ext>
            </a:extLst>
          </p:cNvPr>
          <p:cNvCxnSpPr/>
          <p:nvPr/>
        </p:nvCxnSpPr>
        <p:spPr>
          <a:xfrm>
            <a:off x="831089" y="887445"/>
            <a:ext cx="0" cy="4881754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4813AD0-41C2-8188-6397-D5B28C65EB30}"/>
              </a:ext>
            </a:extLst>
          </p:cNvPr>
          <p:cNvCxnSpPr/>
          <p:nvPr/>
        </p:nvCxnSpPr>
        <p:spPr>
          <a:xfrm>
            <a:off x="831089" y="1182398"/>
            <a:ext cx="0" cy="1247281"/>
          </a:xfrm>
          <a:prstGeom prst="line">
            <a:avLst/>
          </a:prstGeom>
          <a:ln w="571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20E6738-9675-21C2-5741-18B5AEFCE923}"/>
              </a:ext>
            </a:extLst>
          </p:cNvPr>
          <p:cNvSpPr txBox="1"/>
          <p:nvPr/>
        </p:nvSpPr>
        <p:spPr>
          <a:xfrm>
            <a:off x="1097022" y="107959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19</a:t>
            </a:r>
            <a:endParaRPr lang="en-GB" sz="1600" dirty="0" err="1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DDC235D6-B54D-EFCE-04C1-3A59CFC05F68}"/>
              </a:ext>
            </a:extLst>
          </p:cNvPr>
          <p:cNvSpPr txBox="1"/>
          <p:nvPr/>
        </p:nvSpPr>
        <p:spPr>
          <a:xfrm>
            <a:off x="979389" y="225750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2</a:t>
            </a:r>
            <a:endParaRPr lang="en-GB" sz="1600" dirty="0" err="1"/>
          </a:p>
        </p:txBody>
      </p: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664E12AF-4312-A119-2C64-5E8DC97519B6}"/>
              </a:ext>
            </a:extLst>
          </p:cNvPr>
          <p:cNvCxnSpPr>
            <a:cxnSpLocks/>
          </p:cNvCxnSpPr>
          <p:nvPr/>
        </p:nvCxnSpPr>
        <p:spPr>
          <a:xfrm>
            <a:off x="831089" y="2403501"/>
            <a:ext cx="0" cy="943014"/>
          </a:xfrm>
          <a:prstGeom prst="line">
            <a:avLst/>
          </a:prstGeom>
          <a:ln w="57150" cmpd="sng">
            <a:solidFill>
              <a:schemeClr val="accent4">
                <a:lumMod val="60000"/>
                <a:lumOff val="4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13EE5C36-49F4-3687-E9D9-66DFF29D91B8}"/>
              </a:ext>
            </a:extLst>
          </p:cNvPr>
          <p:cNvSpPr txBox="1"/>
          <p:nvPr/>
        </p:nvSpPr>
        <p:spPr>
          <a:xfrm>
            <a:off x="1009788" y="3157571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4</a:t>
            </a:r>
            <a:endParaRPr lang="en-GB" sz="1600" dirty="0" err="1"/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6701352B-962D-53EF-E265-128D61605649}"/>
              </a:ext>
            </a:extLst>
          </p:cNvPr>
          <p:cNvCxnSpPr>
            <a:cxnSpLocks/>
          </p:cNvCxnSpPr>
          <p:nvPr/>
        </p:nvCxnSpPr>
        <p:spPr>
          <a:xfrm>
            <a:off x="834190" y="3346515"/>
            <a:ext cx="0" cy="943014"/>
          </a:xfrm>
          <a:prstGeom prst="line">
            <a:avLst/>
          </a:prstGeom>
          <a:ln w="57150" cmpd="sng">
            <a:solidFill>
              <a:schemeClr val="accent2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06A6B742-E33C-3DCA-C758-C939C60E37B8}"/>
              </a:ext>
            </a:extLst>
          </p:cNvPr>
          <p:cNvSpPr txBox="1"/>
          <p:nvPr/>
        </p:nvSpPr>
        <p:spPr>
          <a:xfrm>
            <a:off x="964056" y="4130819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8.2025</a:t>
            </a:r>
            <a:endParaRPr lang="en-GB" sz="1600" dirty="0" err="1"/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24F212F6-2CE2-7FDC-3EAE-7FEFE7E0AF75}"/>
              </a:ext>
            </a:extLst>
          </p:cNvPr>
          <p:cNvSpPr txBox="1"/>
          <p:nvPr/>
        </p:nvSpPr>
        <p:spPr>
          <a:xfrm>
            <a:off x="974603" y="4579878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9.2025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081385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7" grpId="0"/>
      <p:bldP spid="26" grpId="0"/>
      <p:bldP spid="27" grpId="0"/>
      <p:bldP spid="30" grpId="0"/>
      <p:bldP spid="33" grpId="0"/>
      <p:bldP spid="3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43AFF-2687-C0D2-E910-039733881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C809953-09A3-2FDA-4B7D-C0D2B9D02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20</a:t>
            </a:fld>
            <a:endParaRPr lang="en-GB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8DCD030-7F44-0E5F-82B9-26D3EEDE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put penna 9">
                <a:extLst>
                  <a:ext uri="{FF2B5EF4-FFF2-40B4-BE49-F238E27FC236}">
                    <a16:creationId xmlns:a16="http://schemas.microsoft.com/office/drawing/2014/main" id="{D8E4DCD9-FE9E-230A-0477-622423702E99}"/>
                  </a:ext>
                </a:extLst>
              </p14:cNvPr>
              <p14:cNvContentPartPr/>
              <p14:nvPr/>
            </p14:nvContentPartPr>
            <p14:xfrm>
              <a:off x="6250291" y="171074"/>
              <a:ext cx="350" cy="350"/>
            </p14:xfrm>
          </p:contentPart>
        </mc:Choice>
        <mc:Fallback xmlns="">
          <p:pic>
            <p:nvPicPr>
              <p:cNvPr id="10" name="Input penna 9">
                <a:extLst>
                  <a:ext uri="{FF2B5EF4-FFF2-40B4-BE49-F238E27FC236}">
                    <a16:creationId xmlns:a16="http://schemas.microsoft.com/office/drawing/2014/main" id="{2973406B-A718-EAAE-4198-4D2D8940F4A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32791" y="153574"/>
                <a:ext cx="35000" cy="35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CasellaDiTesto 7">
            <a:extLst>
              <a:ext uri="{FF2B5EF4-FFF2-40B4-BE49-F238E27FC236}">
                <a16:creationId xmlns:a16="http://schemas.microsoft.com/office/drawing/2014/main" id="{87375A19-9370-4A26-9A64-6ACB1323D862}"/>
              </a:ext>
            </a:extLst>
          </p:cNvPr>
          <p:cNvSpPr txBox="1"/>
          <p:nvPr/>
        </p:nvSpPr>
        <p:spPr>
          <a:xfrm>
            <a:off x="2887012" y="1750788"/>
            <a:ext cx="641797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0" b="1" dirty="0"/>
              <a:t>A minimal </a:t>
            </a:r>
            <a:r>
              <a:rPr lang="it-IT" sz="2720" b="1" dirty="0" err="1"/>
              <a:t>physics</a:t>
            </a:r>
            <a:r>
              <a:rPr lang="it-IT" sz="2720" b="1" dirty="0"/>
              <a:t> </a:t>
            </a:r>
            <a:r>
              <a:rPr lang="it-IT" sz="2720" b="1" dirty="0" err="1"/>
              <a:t>approach</a:t>
            </a:r>
            <a:endParaRPr lang="it-IT" sz="2720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F09DBFA4-A775-670E-7E59-E790D5D9393C}"/>
              </a:ext>
            </a:extLst>
          </p:cNvPr>
          <p:cNvSpPr txBox="1"/>
          <p:nvPr/>
        </p:nvSpPr>
        <p:spPr>
          <a:xfrm>
            <a:off x="2656949" y="2565058"/>
            <a:ext cx="68781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 err="1"/>
              <a:t>What</a:t>
            </a:r>
            <a:r>
              <a:rPr lang="it-IT" sz="2400" dirty="0"/>
              <a:t> </a:t>
            </a:r>
            <a:r>
              <a:rPr lang="it-IT" sz="2400" dirty="0" err="1"/>
              <a:t>is</a:t>
            </a:r>
            <a:r>
              <a:rPr lang="it-IT" sz="2400" dirty="0"/>
              <a:t> the range of </a:t>
            </a:r>
            <a:r>
              <a:rPr lang="it-IT" sz="2400" dirty="0" err="1"/>
              <a:t>validity</a:t>
            </a:r>
            <a:r>
              <a:rPr lang="it-IT" sz="2400" dirty="0"/>
              <a:t> of </a:t>
            </a:r>
            <a:r>
              <a:rPr lang="it-IT" sz="2400" dirty="0" err="1"/>
              <a:t>this</a:t>
            </a:r>
            <a:r>
              <a:rPr lang="it-IT" sz="2400" dirty="0"/>
              <a:t> 1D bulk model ?</a:t>
            </a:r>
            <a:endParaRPr lang="en-GB" sz="24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5964A24-D873-BCB3-B1E2-6544B55BEF36}"/>
              </a:ext>
            </a:extLst>
          </p:cNvPr>
          <p:cNvSpPr txBox="1"/>
          <p:nvPr/>
        </p:nvSpPr>
        <p:spPr>
          <a:xfrm>
            <a:off x="2001659" y="3369613"/>
            <a:ext cx="84972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How </a:t>
            </a:r>
            <a:r>
              <a:rPr lang="it-IT" sz="2400" dirty="0" err="1"/>
              <a:t>does</a:t>
            </a:r>
            <a:r>
              <a:rPr lang="it-IT" sz="2400" dirty="0"/>
              <a:t> the </a:t>
            </a:r>
            <a:r>
              <a:rPr lang="it-IT" sz="2400" dirty="0" err="1"/>
              <a:t>thermodynamic</a:t>
            </a:r>
            <a:r>
              <a:rPr lang="it-IT" sz="2400" dirty="0"/>
              <a:t> </a:t>
            </a:r>
            <a:r>
              <a:rPr lang="it-IT" sz="2400" dirty="0" err="1"/>
              <a:t>adjustment</a:t>
            </a:r>
            <a:r>
              <a:rPr lang="it-IT" sz="2400" dirty="0"/>
              <a:t> </a:t>
            </a:r>
            <a:r>
              <a:rPr lang="it-IT" sz="2400" dirty="0" err="1"/>
              <a:t>change</a:t>
            </a:r>
            <a:r>
              <a:rPr lang="it-IT" sz="2400" dirty="0"/>
              <a:t> with </a:t>
            </a:r>
            <a:r>
              <a:rPr lang="it-IT" sz="2400" dirty="0" err="1"/>
              <a:t>scales</a:t>
            </a:r>
            <a:r>
              <a:rPr lang="it-IT" sz="2400" dirty="0"/>
              <a:t>?</a:t>
            </a:r>
            <a:endParaRPr lang="en-GB" sz="2400" dirty="0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68227127-22FF-F802-8C42-C060FBBFB74E}"/>
              </a:ext>
            </a:extLst>
          </p:cNvPr>
          <p:cNvCxnSpPr/>
          <p:nvPr/>
        </p:nvCxnSpPr>
        <p:spPr>
          <a:xfrm>
            <a:off x="4194928" y="1750788"/>
            <a:ext cx="1197204" cy="5964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835C441B-7141-8B13-EC09-04F662F95385}"/>
              </a:ext>
            </a:extLst>
          </p:cNvPr>
          <p:cNvCxnSpPr>
            <a:cxnSpLocks/>
          </p:cNvCxnSpPr>
          <p:nvPr/>
        </p:nvCxnSpPr>
        <p:spPr>
          <a:xfrm flipV="1">
            <a:off x="4233028" y="1710483"/>
            <a:ext cx="1121004" cy="63146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968AFB34-0DA9-1FC1-6C51-31398460ED86}"/>
              </a:ext>
            </a:extLst>
          </p:cNvPr>
          <p:cNvGrpSpPr/>
          <p:nvPr/>
        </p:nvGrpSpPr>
        <p:grpSpPr>
          <a:xfrm>
            <a:off x="3906672" y="1105545"/>
            <a:ext cx="1429560" cy="632160"/>
            <a:chOff x="3906672" y="1105545"/>
            <a:chExt cx="1429560" cy="632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14:cNvPr>
                <p14:cNvContentPartPr/>
                <p14:nvPr/>
              </p14:nvContentPartPr>
              <p14:xfrm>
                <a:off x="3906672" y="1105545"/>
                <a:ext cx="292680" cy="469080"/>
              </p14:xfrm>
            </p:contentPart>
          </mc:Choice>
          <mc:Fallback xmlns="">
            <p:pic>
              <p:nvPicPr>
                <p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889032" y="1087905"/>
                  <a:ext cx="328320" cy="50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14:cNvPr>
                <p14:cNvContentPartPr/>
                <p14:nvPr/>
              </p14:nvContentPartPr>
              <p14:xfrm>
                <a:off x="3997752" y="1366185"/>
                <a:ext cx="241920" cy="64440"/>
              </p14:xfrm>
            </p:contentPart>
          </mc:Choice>
          <mc:Fallback xmlns="">
            <p:pic>
              <p:nvPicPr>
                <p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979752" y="1348185"/>
                  <a:ext cx="27756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14:cNvPr>
                <p14:cNvContentPartPr/>
                <p14:nvPr/>
              </p14:nvContentPartPr>
              <p14:xfrm>
                <a:off x="4363152" y="1180425"/>
                <a:ext cx="266400" cy="400320"/>
              </p14:xfrm>
            </p:contentPart>
          </mc:Choice>
          <mc:Fallback xmlns="">
            <p:pic>
              <p:nvPicPr>
                <p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345512" y="1162425"/>
                  <a:ext cx="302040" cy="43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14:cNvPr>
                <p14:cNvContentPartPr/>
                <p14:nvPr/>
              </p14:nvContentPartPr>
              <p14:xfrm>
                <a:off x="4756272" y="1196265"/>
                <a:ext cx="284040" cy="435240"/>
              </p14:xfrm>
            </p:contentPart>
          </mc:Choice>
          <mc:Fallback xmlns="">
            <p:pic>
              <p:nvPicPr>
                <p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738272" y="1178625"/>
                  <a:ext cx="319680" cy="47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14:cNvPr>
                <p14:cNvContentPartPr/>
                <p14:nvPr/>
              </p14:nvContentPartPr>
              <p14:xfrm>
                <a:off x="5096472" y="1355745"/>
                <a:ext cx="239760" cy="381960"/>
              </p14:xfrm>
            </p:contentPart>
          </mc:Choice>
          <mc:Fallback xmlns="">
            <p:pic>
              <p:nvPicPr>
                <p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078472" y="1338105"/>
                  <a:ext cx="275400" cy="417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4395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E604D0-19F6-B996-FED9-A5EA20A26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038F8E94-28EA-9458-FCA1-738C985C5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21</a:t>
            </a:fld>
            <a:endParaRPr lang="en-GB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7EE48607-DB08-5AE3-395D-1098B7D5FC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sp>
        <p:nvSpPr>
          <p:cNvPr id="5" name="Rettangolo 4">
            <a:extLst>
              <a:ext uri="{FF2B5EF4-FFF2-40B4-BE49-F238E27FC236}">
                <a16:creationId xmlns:a16="http://schemas.microsoft.com/office/drawing/2014/main" id="{5A38A38B-46E0-F2C5-6E22-AB609C809C03}"/>
              </a:ext>
            </a:extLst>
          </p:cNvPr>
          <p:cNvSpPr/>
          <p:nvPr/>
        </p:nvSpPr>
        <p:spPr>
          <a:xfrm>
            <a:off x="4841093" y="4700644"/>
            <a:ext cx="2974295" cy="188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 dirty="0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05F1FC-7EC8-6E67-13A8-3CE5D3BE6055}"/>
              </a:ext>
            </a:extLst>
          </p:cNvPr>
          <p:cNvSpPr/>
          <p:nvPr/>
        </p:nvSpPr>
        <p:spPr>
          <a:xfrm rot="10800000">
            <a:off x="7784566" y="4700722"/>
            <a:ext cx="2974294" cy="188583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16421FD-C9F8-E339-70B5-018DE90DAD34}"/>
              </a:ext>
            </a:extLst>
          </p:cNvPr>
          <p:cNvSpPr txBox="1"/>
          <p:nvPr/>
        </p:nvSpPr>
        <p:spPr>
          <a:xfrm>
            <a:off x="4841894" y="5133539"/>
            <a:ext cx="1379888" cy="44868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lt; 0 </a:t>
            </a:r>
            <a:endParaRPr lang="en-GB" sz="2333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C26C218-BF09-9DD4-E6C8-B8F3481C45C5}"/>
              </a:ext>
            </a:extLst>
          </p:cNvPr>
          <p:cNvSpPr txBox="1"/>
          <p:nvPr/>
        </p:nvSpPr>
        <p:spPr>
          <a:xfrm>
            <a:off x="10587847" y="1187386"/>
            <a:ext cx="1494377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21" dirty="0"/>
              <a:t>MABLH’ </a:t>
            </a:r>
            <a:endParaRPr lang="en-GB" sz="2333" dirty="0"/>
          </a:p>
        </p:txBody>
      </p:sp>
      <p:sp>
        <p:nvSpPr>
          <p:cNvPr id="13" name="Freccia in su 12">
            <a:extLst>
              <a:ext uri="{FF2B5EF4-FFF2-40B4-BE49-F238E27FC236}">
                <a16:creationId xmlns:a16="http://schemas.microsoft.com/office/drawing/2014/main" id="{F2FCC12F-67EC-135A-013B-FD6C6D020F9E}"/>
              </a:ext>
            </a:extLst>
          </p:cNvPr>
          <p:cNvSpPr/>
          <p:nvPr/>
        </p:nvSpPr>
        <p:spPr>
          <a:xfrm>
            <a:off x="5070132" y="3975585"/>
            <a:ext cx="226899" cy="644530"/>
          </a:xfrm>
          <a:prstGeom prst="upArrow">
            <a:avLst/>
          </a:prstGeom>
          <a:gradFill flip="none" rotWithShape="1">
            <a:gsLst>
              <a:gs pos="0">
                <a:schemeClr val="tx2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tx2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tx2">
                  <a:lumMod val="50000"/>
                  <a:lumOff val="5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4" name="Figura a mano libera: forma 13">
            <a:extLst>
              <a:ext uri="{FF2B5EF4-FFF2-40B4-BE49-F238E27FC236}">
                <a16:creationId xmlns:a16="http://schemas.microsoft.com/office/drawing/2014/main" id="{467ABC09-7B57-F805-3377-FE3555CB5380}"/>
              </a:ext>
            </a:extLst>
          </p:cNvPr>
          <p:cNvSpPr/>
          <p:nvPr/>
        </p:nvSpPr>
        <p:spPr>
          <a:xfrm>
            <a:off x="4841894" y="1441638"/>
            <a:ext cx="5745953" cy="672101"/>
          </a:xfrm>
          <a:custGeom>
            <a:avLst/>
            <a:gdLst>
              <a:gd name="connsiteX0" fmla="*/ 0 w 5912213"/>
              <a:gd name="connsiteY0" fmla="*/ 672070 h 691548"/>
              <a:gd name="connsiteX1" fmla="*/ 262647 w 5912213"/>
              <a:gd name="connsiteY1" fmla="*/ 594249 h 691548"/>
              <a:gd name="connsiteX2" fmla="*/ 476656 w 5912213"/>
              <a:gd name="connsiteY2" fmla="*/ 691526 h 691548"/>
              <a:gd name="connsiteX3" fmla="*/ 963039 w 5912213"/>
              <a:gd name="connsiteY3" fmla="*/ 603977 h 691548"/>
              <a:gd name="connsiteX4" fmla="*/ 1760707 w 5912213"/>
              <a:gd name="connsiteY4" fmla="*/ 672070 h 691548"/>
              <a:gd name="connsiteX5" fmla="*/ 2324911 w 5912213"/>
              <a:gd name="connsiteY5" fmla="*/ 633160 h 691548"/>
              <a:gd name="connsiteX6" fmla="*/ 3171217 w 5912213"/>
              <a:gd name="connsiteY6" fmla="*/ 331602 h 691548"/>
              <a:gd name="connsiteX7" fmla="*/ 4241260 w 5912213"/>
              <a:gd name="connsiteY7" fmla="*/ 20317 h 691548"/>
              <a:gd name="connsiteX8" fmla="*/ 5272392 w 5912213"/>
              <a:gd name="connsiteY8" fmla="*/ 30045 h 691548"/>
              <a:gd name="connsiteX9" fmla="*/ 5856051 w 5912213"/>
              <a:gd name="connsiteY9" fmla="*/ 862 h 691548"/>
              <a:gd name="connsiteX10" fmla="*/ 5856051 w 5912213"/>
              <a:gd name="connsiteY10" fmla="*/ 10589 h 691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12213" h="691548">
                <a:moveTo>
                  <a:pt x="0" y="672070"/>
                </a:moveTo>
                <a:cubicBezTo>
                  <a:pt x="91602" y="631538"/>
                  <a:pt x="183205" y="591006"/>
                  <a:pt x="262647" y="594249"/>
                </a:cubicBezTo>
                <a:cubicBezTo>
                  <a:pt x="342089" y="597492"/>
                  <a:pt x="359924" y="689905"/>
                  <a:pt x="476656" y="691526"/>
                </a:cubicBezTo>
                <a:cubicBezTo>
                  <a:pt x="593388" y="693147"/>
                  <a:pt x="749031" y="607220"/>
                  <a:pt x="963039" y="603977"/>
                </a:cubicBezTo>
                <a:cubicBezTo>
                  <a:pt x="1177047" y="600734"/>
                  <a:pt x="1533728" y="667206"/>
                  <a:pt x="1760707" y="672070"/>
                </a:cubicBezTo>
                <a:cubicBezTo>
                  <a:pt x="1987686" y="676934"/>
                  <a:pt x="2089826" y="689905"/>
                  <a:pt x="2324911" y="633160"/>
                </a:cubicBezTo>
                <a:cubicBezTo>
                  <a:pt x="2559996" y="576415"/>
                  <a:pt x="2851826" y="433742"/>
                  <a:pt x="3171217" y="331602"/>
                </a:cubicBezTo>
                <a:cubicBezTo>
                  <a:pt x="3490608" y="229462"/>
                  <a:pt x="3891064" y="70576"/>
                  <a:pt x="4241260" y="20317"/>
                </a:cubicBezTo>
                <a:cubicBezTo>
                  <a:pt x="4591456" y="-29943"/>
                  <a:pt x="5003260" y="33287"/>
                  <a:pt x="5272392" y="30045"/>
                </a:cubicBezTo>
                <a:cubicBezTo>
                  <a:pt x="5541524" y="26803"/>
                  <a:pt x="5856051" y="862"/>
                  <a:pt x="5856051" y="862"/>
                </a:cubicBezTo>
                <a:cubicBezTo>
                  <a:pt x="5953327" y="-2381"/>
                  <a:pt x="5904689" y="4104"/>
                  <a:pt x="5856051" y="10589"/>
                </a:cubicBezTo>
              </a:path>
            </a:pathLst>
          </a:custGeom>
          <a:noFill/>
          <a:ln w="28575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5" name="Freccia in su 14">
            <a:extLst>
              <a:ext uri="{FF2B5EF4-FFF2-40B4-BE49-F238E27FC236}">
                <a16:creationId xmlns:a16="http://schemas.microsoft.com/office/drawing/2014/main" id="{494B0CE8-CBE5-2281-206F-DE4E85453A2C}"/>
              </a:ext>
            </a:extLst>
          </p:cNvPr>
          <p:cNvSpPr/>
          <p:nvPr/>
        </p:nvSpPr>
        <p:spPr>
          <a:xfrm>
            <a:off x="10288192" y="3735157"/>
            <a:ext cx="420175" cy="921721"/>
          </a:xfrm>
          <a:prstGeom prst="upArrow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FC8A21D-A743-0641-CF5E-980774BB5C6B}"/>
              </a:ext>
            </a:extLst>
          </p:cNvPr>
          <p:cNvSpPr txBox="1"/>
          <p:nvPr/>
        </p:nvSpPr>
        <p:spPr>
          <a:xfrm>
            <a:off x="9378973" y="5176406"/>
            <a:ext cx="1379888" cy="44868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gt; 0 </a:t>
            </a:r>
            <a:endParaRPr lang="en-GB" sz="2333" dirty="0"/>
          </a:p>
        </p:txBody>
      </p:sp>
      <p:sp>
        <p:nvSpPr>
          <p:cNvPr id="17" name="Freccia circolare a sinistra 16">
            <a:extLst>
              <a:ext uri="{FF2B5EF4-FFF2-40B4-BE49-F238E27FC236}">
                <a16:creationId xmlns:a16="http://schemas.microsoft.com/office/drawing/2014/main" id="{2FBF61B3-2E21-82BA-13A8-E6A4BECBA9CB}"/>
              </a:ext>
            </a:extLst>
          </p:cNvPr>
          <p:cNvSpPr/>
          <p:nvPr/>
        </p:nvSpPr>
        <p:spPr>
          <a:xfrm>
            <a:off x="9948028" y="1071809"/>
            <a:ext cx="515033" cy="1041931"/>
          </a:xfrm>
          <a:prstGeom prst="curvedLef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18" name="Freccia circolare a sinistra 17">
            <a:extLst>
              <a:ext uri="{FF2B5EF4-FFF2-40B4-BE49-F238E27FC236}">
                <a16:creationId xmlns:a16="http://schemas.microsoft.com/office/drawing/2014/main" id="{78542F2D-20EF-1F1C-5C79-AAED55C27EFD}"/>
              </a:ext>
            </a:extLst>
          </p:cNvPr>
          <p:cNvSpPr/>
          <p:nvPr/>
        </p:nvSpPr>
        <p:spPr>
          <a:xfrm>
            <a:off x="5247713" y="1881674"/>
            <a:ext cx="288916" cy="440312"/>
          </a:xfrm>
          <a:prstGeom prst="curvedLeft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20" name="Figura a mano libera: forma 19">
            <a:extLst>
              <a:ext uri="{FF2B5EF4-FFF2-40B4-BE49-F238E27FC236}">
                <a16:creationId xmlns:a16="http://schemas.microsoft.com/office/drawing/2014/main" id="{715C7AD0-B934-B3B8-74AC-A2CE1C686DAE}"/>
              </a:ext>
            </a:extLst>
          </p:cNvPr>
          <p:cNvSpPr/>
          <p:nvPr/>
        </p:nvSpPr>
        <p:spPr>
          <a:xfrm rot="15350471">
            <a:off x="8926810" y="3135078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1" name="Figura a mano libera: forma 20">
            <a:extLst>
              <a:ext uri="{FF2B5EF4-FFF2-40B4-BE49-F238E27FC236}">
                <a16:creationId xmlns:a16="http://schemas.microsoft.com/office/drawing/2014/main" id="{70238B00-867C-B442-7638-D2B7244FCF99}"/>
              </a:ext>
            </a:extLst>
          </p:cNvPr>
          <p:cNvSpPr/>
          <p:nvPr/>
        </p:nvSpPr>
        <p:spPr>
          <a:xfrm rot="5400000">
            <a:off x="9564692" y="3839692"/>
            <a:ext cx="569055" cy="712649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9C0E262B-C951-22B9-9BA4-A32ED6306A15}"/>
              </a:ext>
            </a:extLst>
          </p:cNvPr>
          <p:cNvSpPr/>
          <p:nvPr/>
        </p:nvSpPr>
        <p:spPr>
          <a:xfrm rot="7257045">
            <a:off x="10742182" y="2204496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3" name="Figura a mano libera: forma 22">
            <a:extLst>
              <a:ext uri="{FF2B5EF4-FFF2-40B4-BE49-F238E27FC236}">
                <a16:creationId xmlns:a16="http://schemas.microsoft.com/office/drawing/2014/main" id="{9D94A15E-5690-B83F-BC1F-DE23919ED5CC}"/>
              </a:ext>
            </a:extLst>
          </p:cNvPr>
          <p:cNvSpPr/>
          <p:nvPr/>
        </p:nvSpPr>
        <p:spPr>
          <a:xfrm rot="19158006">
            <a:off x="8663823" y="2146676"/>
            <a:ext cx="334338" cy="29320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4" name="Figura a mano libera: forma 23">
            <a:extLst>
              <a:ext uri="{FF2B5EF4-FFF2-40B4-BE49-F238E27FC236}">
                <a16:creationId xmlns:a16="http://schemas.microsoft.com/office/drawing/2014/main" id="{D36F507C-5983-DEF9-837D-D8263A549942}"/>
              </a:ext>
            </a:extLst>
          </p:cNvPr>
          <p:cNvSpPr/>
          <p:nvPr/>
        </p:nvSpPr>
        <p:spPr>
          <a:xfrm rot="4089735">
            <a:off x="10069961" y="3004544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5" name="Figura a mano libera: forma 24">
            <a:extLst>
              <a:ext uri="{FF2B5EF4-FFF2-40B4-BE49-F238E27FC236}">
                <a16:creationId xmlns:a16="http://schemas.microsoft.com/office/drawing/2014/main" id="{740A9847-94B4-BCA6-06D1-A421C35A90BC}"/>
              </a:ext>
            </a:extLst>
          </p:cNvPr>
          <p:cNvSpPr/>
          <p:nvPr/>
        </p:nvSpPr>
        <p:spPr>
          <a:xfrm rot="15350471">
            <a:off x="6765677" y="3021614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6" name="Figura a mano libera: forma 25">
            <a:extLst>
              <a:ext uri="{FF2B5EF4-FFF2-40B4-BE49-F238E27FC236}">
                <a16:creationId xmlns:a16="http://schemas.microsoft.com/office/drawing/2014/main" id="{F90DD778-285E-5980-9D56-107C18073896}"/>
              </a:ext>
            </a:extLst>
          </p:cNvPr>
          <p:cNvSpPr/>
          <p:nvPr/>
        </p:nvSpPr>
        <p:spPr>
          <a:xfrm rot="9277550">
            <a:off x="7009774" y="3775530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7" name="Figura a mano libera: forma 26">
            <a:extLst>
              <a:ext uri="{FF2B5EF4-FFF2-40B4-BE49-F238E27FC236}">
                <a16:creationId xmlns:a16="http://schemas.microsoft.com/office/drawing/2014/main" id="{92EE2A17-BD30-BDF6-3F18-CBDD3643015A}"/>
              </a:ext>
            </a:extLst>
          </p:cNvPr>
          <p:cNvSpPr/>
          <p:nvPr/>
        </p:nvSpPr>
        <p:spPr>
          <a:xfrm rot="8735563">
            <a:off x="7310376" y="2464348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8" name="Figura a mano libera: forma 27">
            <a:extLst>
              <a:ext uri="{FF2B5EF4-FFF2-40B4-BE49-F238E27FC236}">
                <a16:creationId xmlns:a16="http://schemas.microsoft.com/office/drawing/2014/main" id="{A24163FC-3B25-0078-F21F-B6306BA06810}"/>
              </a:ext>
            </a:extLst>
          </p:cNvPr>
          <p:cNvSpPr/>
          <p:nvPr/>
        </p:nvSpPr>
        <p:spPr>
          <a:xfrm rot="15350471">
            <a:off x="5159712" y="2871916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9" name="Figura a mano libera: forma 28">
            <a:extLst>
              <a:ext uri="{FF2B5EF4-FFF2-40B4-BE49-F238E27FC236}">
                <a16:creationId xmlns:a16="http://schemas.microsoft.com/office/drawing/2014/main" id="{53C1A87A-F12C-B0BA-EFBB-F423C8F70136}"/>
              </a:ext>
            </a:extLst>
          </p:cNvPr>
          <p:cNvSpPr/>
          <p:nvPr/>
        </p:nvSpPr>
        <p:spPr>
          <a:xfrm rot="15350471">
            <a:off x="5621823" y="3352857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0" name="Figura a mano libera: forma 29">
            <a:extLst>
              <a:ext uri="{FF2B5EF4-FFF2-40B4-BE49-F238E27FC236}">
                <a16:creationId xmlns:a16="http://schemas.microsoft.com/office/drawing/2014/main" id="{02634B7C-AEFB-E69B-32CB-80699C7B953E}"/>
              </a:ext>
            </a:extLst>
          </p:cNvPr>
          <p:cNvSpPr/>
          <p:nvPr/>
        </p:nvSpPr>
        <p:spPr>
          <a:xfrm rot="15350471">
            <a:off x="5064798" y="3646942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1" name="Figura a mano libera: forma 30">
            <a:extLst>
              <a:ext uri="{FF2B5EF4-FFF2-40B4-BE49-F238E27FC236}">
                <a16:creationId xmlns:a16="http://schemas.microsoft.com/office/drawing/2014/main" id="{3F26B6F8-0192-BF91-F9B6-5FE9677FF917}"/>
              </a:ext>
            </a:extLst>
          </p:cNvPr>
          <p:cNvSpPr/>
          <p:nvPr/>
        </p:nvSpPr>
        <p:spPr>
          <a:xfrm rot="15350471">
            <a:off x="5455940" y="4236995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960CE292-7208-6EB3-C5E6-69DBF71CAD1F}"/>
              </a:ext>
            </a:extLst>
          </p:cNvPr>
          <p:cNvSpPr txBox="1"/>
          <p:nvPr/>
        </p:nvSpPr>
        <p:spPr>
          <a:xfrm>
            <a:off x="172988" y="3919666"/>
            <a:ext cx="4278479" cy="1438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7720" indent="-277720">
              <a:buFont typeface="Arial" panose="020B0604020202020204" pitchFamily="34" charset="0"/>
              <a:buChar char="•"/>
            </a:pPr>
            <a:r>
              <a:rPr lang="it-IT" sz="1749" dirty="0"/>
              <a:t>Small-scale SST </a:t>
            </a:r>
            <a:r>
              <a:rPr lang="it-IT" sz="1749" dirty="0" err="1"/>
              <a:t>variability</a:t>
            </a:r>
            <a:r>
              <a:rPr lang="it-IT" sz="1749" dirty="0"/>
              <a:t> </a:t>
            </a:r>
          </a:p>
          <a:p>
            <a:r>
              <a:rPr lang="it-IT" sz="1749" dirty="0"/>
              <a:t>      </a:t>
            </a:r>
            <a:r>
              <a:rPr lang="it-IT" sz="1749" dirty="0" err="1"/>
              <a:t>dominates</a:t>
            </a:r>
            <a:r>
              <a:rPr lang="it-IT" sz="1749" dirty="0"/>
              <a:t> LHF </a:t>
            </a:r>
            <a:r>
              <a:rPr lang="it-IT" sz="1749" dirty="0" err="1"/>
              <a:t>variance</a:t>
            </a:r>
            <a:r>
              <a:rPr lang="it-IT" sz="1749" dirty="0"/>
              <a:t> </a:t>
            </a:r>
          </a:p>
          <a:p>
            <a:r>
              <a:rPr lang="it-IT" sz="1749" dirty="0"/>
              <a:t>      and </a:t>
            </a:r>
            <a:r>
              <a:rPr lang="it-IT" sz="1749" dirty="0" err="1"/>
              <a:t>excites</a:t>
            </a:r>
            <a:r>
              <a:rPr lang="it-IT" sz="1749" dirty="0"/>
              <a:t> non-linear </a:t>
            </a:r>
            <a:r>
              <a:rPr lang="it-IT" sz="1749" dirty="0" err="1"/>
              <a:t>upscaling</a:t>
            </a:r>
            <a:r>
              <a:rPr lang="it-IT" sz="1749" dirty="0"/>
              <a:t> </a:t>
            </a:r>
            <a:r>
              <a:rPr lang="it-IT" sz="1749" dirty="0" err="1"/>
              <a:t>effects</a:t>
            </a:r>
            <a:endParaRPr lang="it-IT" sz="1749" dirty="0"/>
          </a:p>
          <a:p>
            <a:endParaRPr lang="it-IT" sz="1749" dirty="0"/>
          </a:p>
          <a:p>
            <a:endParaRPr lang="it-IT" sz="1749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1637F0B7-9D76-E3E1-2B5A-24E89436C524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Conclusions</a:t>
            </a:r>
            <a:endParaRPr lang="it-IT" sz="1944" b="1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435C54D6-649F-EC03-9DD3-8E845C11C062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513B26EC-5395-6FC5-94F9-071433B20275}"/>
                  </a:ext>
                </a:extLst>
              </p:cNvPr>
              <p:cNvSpPr txBox="1"/>
              <p:nvPr/>
            </p:nvSpPr>
            <p:spPr>
              <a:xfrm>
                <a:off x="168909" y="3010720"/>
                <a:ext cx="3328598" cy="78650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ctrlPr>
                                <a:rPr lang="it-IT" sz="2333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𝑆𝑆𝑇</m:t>
                                  </m:r>
                                </m:sub>
                                <m: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</m:sup>
                              </m:sSubSup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</m:den>
                      </m:f>
                      <m:r>
                        <a:rPr lang="it-IT" sz="2333" i="1">
                          <a:latin typeface="Cambria Math" panose="02040503050406030204" pitchFamily="18" charset="0"/>
                        </a:rPr>
                        <m:t>≳</m:t>
                      </m:r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it-IT" sz="2333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</m:sub>
                            <m:sup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 </m:t>
                          </m:r>
                        </m:den>
                      </m:f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513B26EC-5395-6FC5-94F9-071433B202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909" y="3010720"/>
                <a:ext cx="3328598" cy="7865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CasellaDiTesto 8">
            <a:extLst>
              <a:ext uri="{FF2B5EF4-FFF2-40B4-BE49-F238E27FC236}">
                <a16:creationId xmlns:a16="http://schemas.microsoft.com/office/drawing/2014/main" id="{AD5783F8-923A-7F96-9112-1883A5C9303D}"/>
              </a:ext>
            </a:extLst>
          </p:cNvPr>
          <p:cNvSpPr txBox="1"/>
          <p:nvPr/>
        </p:nvSpPr>
        <p:spPr>
          <a:xfrm>
            <a:off x="102506" y="1047731"/>
            <a:ext cx="4351383" cy="1438214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pPr marL="277720" indent="-277720" algn="ctr">
              <a:buFont typeface="Arial" panose="020B0604020202020204" pitchFamily="34" charset="0"/>
              <a:buChar char="•"/>
            </a:pPr>
            <a:r>
              <a:rPr lang="it-IT" sz="1749" dirty="0"/>
              <a:t>MABL – SST </a:t>
            </a:r>
            <a:r>
              <a:rPr lang="it-IT" sz="1749" dirty="0" err="1"/>
              <a:t>coupling</a:t>
            </a:r>
            <a:r>
              <a:rPr lang="it-IT" sz="1749" dirty="0"/>
              <a:t> </a:t>
            </a:r>
            <a:r>
              <a:rPr lang="it-IT" sz="1749" dirty="0" err="1"/>
              <a:t>is</a:t>
            </a:r>
            <a:r>
              <a:rPr lang="it-IT" sz="1749" dirty="0"/>
              <a:t> scale-</a:t>
            </a:r>
            <a:r>
              <a:rPr lang="it-IT" sz="1749" dirty="0" err="1"/>
              <a:t>dependent</a:t>
            </a:r>
            <a:endParaRPr lang="it-IT" sz="1749" dirty="0"/>
          </a:p>
          <a:p>
            <a:pPr marL="277720" indent="-277720" algn="ctr">
              <a:buFont typeface="Arial" panose="020B0604020202020204" pitchFamily="34" charset="0"/>
              <a:buChar char="•"/>
            </a:pPr>
            <a:endParaRPr lang="it-IT" sz="1749" dirty="0"/>
          </a:p>
          <a:p>
            <a:pPr marL="285750" indent="-285750" algn="ctr">
              <a:buFont typeface="Wingdings" panose="05000000000000000000" pitchFamily="2" charset="2"/>
              <a:buChar char="à"/>
            </a:pPr>
            <a:r>
              <a:rPr lang="it-IT" sz="1749" dirty="0" err="1">
                <a:sym typeface="Wingdings" panose="05000000000000000000" pitchFamily="2" charset="2"/>
              </a:rPr>
              <a:t>Primary</a:t>
            </a:r>
            <a:r>
              <a:rPr lang="it-IT" sz="1749" dirty="0">
                <a:sym typeface="Wingdings" panose="05000000000000000000" pitchFamily="2" charset="2"/>
              </a:rPr>
              <a:t> </a:t>
            </a:r>
            <a:r>
              <a:rPr lang="it-IT" sz="1749" dirty="0" err="1">
                <a:sym typeface="Wingdings" panose="05000000000000000000" pitchFamily="2" charset="2"/>
              </a:rPr>
              <a:t>mechanism</a:t>
            </a:r>
            <a:r>
              <a:rPr lang="it-IT" sz="1749" dirty="0">
                <a:sym typeface="Wingdings" panose="05000000000000000000" pitchFamily="2" charset="2"/>
              </a:rPr>
              <a:t> for</a:t>
            </a:r>
          </a:p>
          <a:p>
            <a:pPr algn="ctr"/>
            <a:r>
              <a:rPr lang="it-IT" sz="1749" dirty="0">
                <a:sym typeface="Wingdings" panose="05000000000000000000" pitchFamily="2" charset="2"/>
              </a:rPr>
              <a:t>          </a:t>
            </a:r>
            <a:r>
              <a:rPr lang="it-IT" sz="1749" dirty="0" err="1">
                <a:sym typeface="Wingdings" panose="05000000000000000000" pitchFamily="2" charset="2"/>
              </a:rPr>
              <a:t>thermodynamic</a:t>
            </a:r>
            <a:r>
              <a:rPr lang="it-IT" sz="1749" dirty="0">
                <a:sym typeface="Wingdings" panose="05000000000000000000" pitchFamily="2" charset="2"/>
              </a:rPr>
              <a:t> </a:t>
            </a:r>
            <a:r>
              <a:rPr lang="it-IT" sz="1749" dirty="0" err="1">
                <a:sym typeface="Wingdings" panose="05000000000000000000" pitchFamily="2" charset="2"/>
              </a:rPr>
              <a:t>adjustment</a:t>
            </a:r>
            <a:endParaRPr lang="it-IT" sz="1749" dirty="0">
              <a:sym typeface="Wingdings" panose="05000000000000000000" pitchFamily="2" charset="2"/>
            </a:endParaRPr>
          </a:p>
          <a:p>
            <a:pPr algn="ctr"/>
            <a:r>
              <a:rPr lang="it-IT" sz="1749" dirty="0">
                <a:sym typeface="Wingdings" panose="05000000000000000000" pitchFamily="2" charset="2"/>
              </a:rPr>
              <a:t>over </a:t>
            </a:r>
            <a:r>
              <a:rPr lang="it-IT" sz="1749" dirty="0" err="1">
                <a:sym typeface="Wingdings" panose="05000000000000000000" pitchFamily="2" charset="2"/>
              </a:rPr>
              <a:t>daily</a:t>
            </a:r>
            <a:r>
              <a:rPr lang="it-IT" sz="1749" dirty="0">
                <a:sym typeface="Wingdings" panose="05000000000000000000" pitchFamily="2" charset="2"/>
              </a:rPr>
              <a:t> </a:t>
            </a:r>
            <a:r>
              <a:rPr lang="it-IT" sz="1749" dirty="0" err="1">
                <a:sym typeface="Wingdings" panose="05000000000000000000" pitchFamily="2" charset="2"/>
              </a:rPr>
              <a:t>means</a:t>
            </a:r>
            <a:endParaRPr lang="it-IT" sz="1749" dirty="0"/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3A34476D-C9D9-6303-9491-B33A9E99EA94}"/>
              </a:ext>
            </a:extLst>
          </p:cNvPr>
          <p:cNvSpPr/>
          <p:nvPr/>
        </p:nvSpPr>
        <p:spPr>
          <a:xfrm>
            <a:off x="6288972" y="435738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2A81EB93-F9A2-B1E5-7B71-425FFD563BA6}"/>
              </a:ext>
            </a:extLst>
          </p:cNvPr>
          <p:cNvSpPr/>
          <p:nvPr/>
        </p:nvSpPr>
        <p:spPr>
          <a:xfrm>
            <a:off x="5601730" y="44856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3506C34C-4073-8C2E-3066-7F18EB400565}"/>
              </a:ext>
            </a:extLst>
          </p:cNvPr>
          <p:cNvSpPr/>
          <p:nvPr/>
        </p:nvSpPr>
        <p:spPr>
          <a:xfrm>
            <a:off x="6016535" y="373969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5" name="Ovale 34">
            <a:extLst>
              <a:ext uri="{FF2B5EF4-FFF2-40B4-BE49-F238E27FC236}">
                <a16:creationId xmlns:a16="http://schemas.microsoft.com/office/drawing/2014/main" id="{0B3847BA-5F41-A8AD-A4EA-77294238546D}"/>
              </a:ext>
            </a:extLst>
          </p:cNvPr>
          <p:cNvSpPr/>
          <p:nvPr/>
        </p:nvSpPr>
        <p:spPr>
          <a:xfrm>
            <a:off x="5392171" y="3175893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6" name="Ovale 35">
            <a:extLst>
              <a:ext uri="{FF2B5EF4-FFF2-40B4-BE49-F238E27FC236}">
                <a16:creationId xmlns:a16="http://schemas.microsoft.com/office/drawing/2014/main" id="{85D6C8FC-7D2C-819C-61C3-E48EFECA70E4}"/>
              </a:ext>
            </a:extLst>
          </p:cNvPr>
          <p:cNvSpPr/>
          <p:nvPr/>
        </p:nvSpPr>
        <p:spPr>
          <a:xfrm>
            <a:off x="6077558" y="263604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7" name="Ovale 36">
            <a:extLst>
              <a:ext uri="{FF2B5EF4-FFF2-40B4-BE49-F238E27FC236}">
                <a16:creationId xmlns:a16="http://schemas.microsoft.com/office/drawing/2014/main" id="{FCCFCEA0-BBAD-1C68-DE65-15F39A01D802}"/>
              </a:ext>
            </a:extLst>
          </p:cNvPr>
          <p:cNvSpPr/>
          <p:nvPr/>
        </p:nvSpPr>
        <p:spPr>
          <a:xfrm>
            <a:off x="5009109" y="246327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8" name="Ovale 37">
            <a:extLst>
              <a:ext uri="{FF2B5EF4-FFF2-40B4-BE49-F238E27FC236}">
                <a16:creationId xmlns:a16="http://schemas.microsoft.com/office/drawing/2014/main" id="{A25ABD3C-8C90-B698-E2E4-D2497CD7D496}"/>
              </a:ext>
            </a:extLst>
          </p:cNvPr>
          <p:cNvSpPr/>
          <p:nvPr/>
        </p:nvSpPr>
        <p:spPr>
          <a:xfrm>
            <a:off x="6968766" y="430540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9" name="Ovale 38">
            <a:extLst>
              <a:ext uri="{FF2B5EF4-FFF2-40B4-BE49-F238E27FC236}">
                <a16:creationId xmlns:a16="http://schemas.microsoft.com/office/drawing/2014/main" id="{888A0A0F-66CA-27B8-A45F-80B9C78DC91C}"/>
              </a:ext>
            </a:extLst>
          </p:cNvPr>
          <p:cNvSpPr/>
          <p:nvPr/>
        </p:nvSpPr>
        <p:spPr>
          <a:xfrm>
            <a:off x="6701378" y="349656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0" name="Ovale 39">
            <a:extLst>
              <a:ext uri="{FF2B5EF4-FFF2-40B4-BE49-F238E27FC236}">
                <a16:creationId xmlns:a16="http://schemas.microsoft.com/office/drawing/2014/main" id="{0860274E-9E38-C772-7BF1-6C1A6F5C0157}"/>
              </a:ext>
            </a:extLst>
          </p:cNvPr>
          <p:cNvSpPr/>
          <p:nvPr/>
        </p:nvSpPr>
        <p:spPr>
          <a:xfrm>
            <a:off x="6858086" y="26535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C6703209-D393-1E24-12E0-680ED12039C7}"/>
              </a:ext>
            </a:extLst>
          </p:cNvPr>
          <p:cNvSpPr/>
          <p:nvPr/>
        </p:nvSpPr>
        <p:spPr>
          <a:xfrm>
            <a:off x="7969561" y="441105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2" name="Ovale 41">
            <a:extLst>
              <a:ext uri="{FF2B5EF4-FFF2-40B4-BE49-F238E27FC236}">
                <a16:creationId xmlns:a16="http://schemas.microsoft.com/office/drawing/2014/main" id="{D8CA4427-08DD-A171-D05E-337B315B1874}"/>
              </a:ext>
            </a:extLst>
          </p:cNvPr>
          <p:cNvSpPr/>
          <p:nvPr/>
        </p:nvSpPr>
        <p:spPr>
          <a:xfrm>
            <a:off x="9765295" y="364078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7545EC99-0B50-5171-AF4C-204F0463E84F}"/>
              </a:ext>
            </a:extLst>
          </p:cNvPr>
          <p:cNvSpPr/>
          <p:nvPr/>
        </p:nvSpPr>
        <p:spPr>
          <a:xfrm>
            <a:off x="4847246" y="386418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4" name="Ovale 43">
            <a:extLst>
              <a:ext uri="{FF2B5EF4-FFF2-40B4-BE49-F238E27FC236}">
                <a16:creationId xmlns:a16="http://schemas.microsoft.com/office/drawing/2014/main" id="{27DD177F-C9AB-22C7-F53F-6160EACEF7A2}"/>
              </a:ext>
            </a:extLst>
          </p:cNvPr>
          <p:cNvSpPr/>
          <p:nvPr/>
        </p:nvSpPr>
        <p:spPr>
          <a:xfrm>
            <a:off x="9006454" y="4505676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5" name="Ovale 44">
            <a:extLst>
              <a:ext uri="{FF2B5EF4-FFF2-40B4-BE49-F238E27FC236}">
                <a16:creationId xmlns:a16="http://schemas.microsoft.com/office/drawing/2014/main" id="{BFA07896-D6D1-02AF-4581-BFB82818CA2F}"/>
              </a:ext>
            </a:extLst>
          </p:cNvPr>
          <p:cNvSpPr/>
          <p:nvPr/>
        </p:nvSpPr>
        <p:spPr>
          <a:xfrm>
            <a:off x="10633144" y="2816276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C0C2CDB0-889B-0ABD-AB7C-153E4B61F7FF}"/>
              </a:ext>
            </a:extLst>
          </p:cNvPr>
          <p:cNvSpPr/>
          <p:nvPr/>
        </p:nvSpPr>
        <p:spPr>
          <a:xfrm>
            <a:off x="9546148" y="309363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7" name="Ovale 46">
            <a:extLst>
              <a:ext uri="{FF2B5EF4-FFF2-40B4-BE49-F238E27FC236}">
                <a16:creationId xmlns:a16="http://schemas.microsoft.com/office/drawing/2014/main" id="{BDBFBB33-0D06-AB2E-D9FC-E2A285710816}"/>
              </a:ext>
            </a:extLst>
          </p:cNvPr>
          <p:cNvSpPr/>
          <p:nvPr/>
        </p:nvSpPr>
        <p:spPr>
          <a:xfrm>
            <a:off x="8501926" y="330192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77A9E990-60C8-4610-324C-BA30EC47CFB8}"/>
              </a:ext>
            </a:extLst>
          </p:cNvPr>
          <p:cNvSpPr/>
          <p:nvPr/>
        </p:nvSpPr>
        <p:spPr>
          <a:xfrm>
            <a:off x="10845694" y="339930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9" name="Ovale 48">
            <a:extLst>
              <a:ext uri="{FF2B5EF4-FFF2-40B4-BE49-F238E27FC236}">
                <a16:creationId xmlns:a16="http://schemas.microsoft.com/office/drawing/2014/main" id="{F9D5182C-81E4-95C0-CF75-B7CD54F7123E}"/>
              </a:ext>
            </a:extLst>
          </p:cNvPr>
          <p:cNvSpPr/>
          <p:nvPr/>
        </p:nvSpPr>
        <p:spPr>
          <a:xfrm>
            <a:off x="10845694" y="429738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id="{144FA97F-ABE1-7225-F5E5-12971231111D}"/>
              </a:ext>
            </a:extLst>
          </p:cNvPr>
          <p:cNvSpPr/>
          <p:nvPr/>
        </p:nvSpPr>
        <p:spPr>
          <a:xfrm>
            <a:off x="8925765" y="39407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1" name="Ovale 50">
            <a:extLst>
              <a:ext uri="{FF2B5EF4-FFF2-40B4-BE49-F238E27FC236}">
                <a16:creationId xmlns:a16="http://schemas.microsoft.com/office/drawing/2014/main" id="{37A87C42-5112-4194-760B-9027C2813188}"/>
              </a:ext>
            </a:extLst>
          </p:cNvPr>
          <p:cNvSpPr/>
          <p:nvPr/>
        </p:nvSpPr>
        <p:spPr>
          <a:xfrm>
            <a:off x="7636337" y="393826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2" name="Ovale 51">
            <a:extLst>
              <a:ext uri="{FF2B5EF4-FFF2-40B4-BE49-F238E27FC236}">
                <a16:creationId xmlns:a16="http://schemas.microsoft.com/office/drawing/2014/main" id="{BF55D3F1-D6EB-79EB-A973-ABE8E3E674E8}"/>
              </a:ext>
            </a:extLst>
          </p:cNvPr>
          <p:cNvSpPr/>
          <p:nvPr/>
        </p:nvSpPr>
        <p:spPr>
          <a:xfrm>
            <a:off x="9923873" y="24835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2DC46576-99DF-7D0A-AF79-75F89701D0AE}"/>
              </a:ext>
            </a:extLst>
          </p:cNvPr>
          <p:cNvSpPr/>
          <p:nvPr/>
        </p:nvSpPr>
        <p:spPr>
          <a:xfrm>
            <a:off x="7908538" y="204961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4" name="Ovale 53">
            <a:extLst>
              <a:ext uri="{FF2B5EF4-FFF2-40B4-BE49-F238E27FC236}">
                <a16:creationId xmlns:a16="http://schemas.microsoft.com/office/drawing/2014/main" id="{E4D1CA93-8015-483C-42BE-8091A184ED68}"/>
              </a:ext>
            </a:extLst>
          </p:cNvPr>
          <p:cNvSpPr/>
          <p:nvPr/>
        </p:nvSpPr>
        <p:spPr>
          <a:xfrm>
            <a:off x="7572990" y="314094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5" name="Ovale 54">
            <a:extLst>
              <a:ext uri="{FF2B5EF4-FFF2-40B4-BE49-F238E27FC236}">
                <a16:creationId xmlns:a16="http://schemas.microsoft.com/office/drawing/2014/main" id="{AB80F5D5-2C70-0837-E863-22E55445FA53}"/>
              </a:ext>
            </a:extLst>
          </p:cNvPr>
          <p:cNvSpPr/>
          <p:nvPr/>
        </p:nvSpPr>
        <p:spPr>
          <a:xfrm>
            <a:off x="9366554" y="207593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id="{B0E2E691-6139-9685-C32E-96A7A796E570}"/>
              </a:ext>
            </a:extLst>
          </p:cNvPr>
          <p:cNvSpPr/>
          <p:nvPr/>
        </p:nvSpPr>
        <p:spPr>
          <a:xfrm>
            <a:off x="8277012" y="2743674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DDEA767C-8467-B86A-9E79-933723FF5C04}"/>
              </a:ext>
            </a:extLst>
          </p:cNvPr>
          <p:cNvSpPr txBox="1"/>
          <p:nvPr/>
        </p:nvSpPr>
        <p:spPr>
          <a:xfrm>
            <a:off x="122551" y="2629686"/>
            <a:ext cx="2911386" cy="358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7720" indent="-277720">
              <a:buFont typeface="Arial" panose="020B0604020202020204" pitchFamily="34" charset="0"/>
              <a:buChar char="•"/>
            </a:pPr>
            <a:r>
              <a:rPr lang="it-IT" sz="1749" dirty="0"/>
              <a:t>Feedback on </a:t>
            </a:r>
            <a:r>
              <a:rPr lang="it-IT" sz="1749" dirty="0" err="1"/>
              <a:t>surface</a:t>
            </a:r>
            <a:r>
              <a:rPr lang="it-IT" sz="1749" dirty="0"/>
              <a:t> LHF</a:t>
            </a:r>
          </a:p>
        </p:txBody>
      </p:sp>
    </p:spTree>
    <p:extLst>
      <p:ext uri="{BB962C8B-B14F-4D97-AF65-F5344CB8AC3E}">
        <p14:creationId xmlns:p14="http://schemas.microsoft.com/office/powerpoint/2010/main" val="642599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3" grpId="0"/>
      <p:bldP spid="7" grpId="0"/>
      <p:bldP spid="9" grpId="0" animBg="1"/>
      <p:bldP spid="19" grpId="0" animBg="1"/>
      <p:bldP spid="32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AEEF9-BC71-F577-ECDA-3EE7BF1F8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76B7885-6072-5C58-A707-55351D6280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D844F484-A76B-A5AC-7AAA-B3AD29255B7E}"/>
              </a:ext>
            </a:extLst>
          </p:cNvPr>
          <p:cNvCxnSpPr>
            <a:cxnSpLocks/>
          </p:cNvCxnSpPr>
          <p:nvPr/>
        </p:nvCxnSpPr>
        <p:spPr>
          <a:xfrm>
            <a:off x="85178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B320F934-EE6D-0432-A65C-EF5CE54A53E1}"/>
              </a:ext>
            </a:extLst>
          </p:cNvPr>
          <p:cNvSpPr txBox="1"/>
          <p:nvPr/>
        </p:nvSpPr>
        <p:spPr>
          <a:xfrm>
            <a:off x="6188180" y="1461741"/>
            <a:ext cx="4277410" cy="1117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cales </a:t>
            </a:r>
            <a:r>
              <a:rPr lang="en-GB" b="1" dirty="0"/>
              <a:t>&lt; 1000 km are</a:t>
            </a:r>
            <a:r>
              <a:rPr lang="it-IT" sz="1749" b="1" dirty="0"/>
              <a:t> </a:t>
            </a:r>
            <a:r>
              <a:rPr lang="it-IT" sz="1749" b="1" dirty="0" err="1"/>
              <a:t>important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in the global energy budget!</a:t>
            </a:r>
          </a:p>
          <a:p>
            <a:pPr algn="ctr"/>
            <a:r>
              <a:rPr lang="it-IT" sz="1555" i="1" dirty="0"/>
              <a:t>(Renault et al. 2023, </a:t>
            </a:r>
            <a:r>
              <a:rPr lang="it-IT" sz="1555" i="1" dirty="0" err="1"/>
              <a:t>Seo</a:t>
            </a:r>
            <a:r>
              <a:rPr lang="it-IT" sz="1555" i="1" dirty="0"/>
              <a:t> et al. 2023, </a:t>
            </a:r>
          </a:p>
          <a:p>
            <a:pPr algn="ctr"/>
            <a:r>
              <a:rPr lang="it-IT" sz="1555" i="1" dirty="0"/>
              <a:t>Bishop et al. 2020)</a:t>
            </a:r>
            <a:endParaRPr lang="it-IT" sz="1749" i="1" dirty="0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1C85BFB-7C60-F9EB-7678-DBC1E18D246A}"/>
              </a:ext>
            </a:extLst>
          </p:cNvPr>
          <p:cNvSpPr txBox="1"/>
          <p:nvPr/>
        </p:nvSpPr>
        <p:spPr>
          <a:xfrm>
            <a:off x="6435591" y="2845219"/>
            <a:ext cx="3999086" cy="143821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Thermal feedback TFB</a:t>
            </a:r>
          </a:p>
          <a:p>
            <a:pPr algn="ctr"/>
            <a:r>
              <a:rPr lang="it-IT" sz="1749" dirty="0" err="1"/>
              <a:t>Modulates</a:t>
            </a:r>
            <a:r>
              <a:rPr lang="it-IT" sz="1749" dirty="0"/>
              <a:t> </a:t>
            </a:r>
            <a:r>
              <a:rPr lang="it-IT" sz="1749" dirty="0" err="1"/>
              <a:t>local</a:t>
            </a:r>
            <a:r>
              <a:rPr lang="it-IT" sz="1749" dirty="0"/>
              <a:t> air temperature, </a:t>
            </a:r>
            <a:r>
              <a:rPr lang="it-IT" sz="1749" dirty="0" err="1"/>
              <a:t>stability</a:t>
            </a:r>
            <a:r>
              <a:rPr lang="it-IT" sz="1749" dirty="0"/>
              <a:t> and </a:t>
            </a:r>
            <a:r>
              <a:rPr lang="it-IT" sz="1749" dirty="0" err="1"/>
              <a:t>circulation</a:t>
            </a:r>
            <a:r>
              <a:rPr lang="it-IT" sz="1749" dirty="0"/>
              <a:t> </a:t>
            </a:r>
            <a:r>
              <a:rPr lang="it-IT" sz="1749" dirty="0" err="1"/>
              <a:t>through</a:t>
            </a:r>
            <a:r>
              <a:rPr lang="it-IT" sz="1749" dirty="0"/>
              <a:t> </a:t>
            </a:r>
            <a:r>
              <a:rPr lang="it-IT" sz="1749" dirty="0" err="1"/>
              <a:t>modified</a:t>
            </a:r>
            <a:r>
              <a:rPr lang="it-IT" sz="1749" dirty="0"/>
              <a:t> </a:t>
            </a:r>
            <a:r>
              <a:rPr lang="it-IT" sz="1749" dirty="0" err="1"/>
              <a:t>thermodynamic</a:t>
            </a:r>
            <a:r>
              <a:rPr lang="it-IT" sz="1749" dirty="0"/>
              <a:t> </a:t>
            </a:r>
            <a:r>
              <a:rPr lang="it-IT" sz="1749" dirty="0" err="1"/>
              <a:t>fluxes</a:t>
            </a:r>
            <a:endParaRPr lang="it-IT" sz="1749" dirty="0"/>
          </a:p>
          <a:p>
            <a:pPr algn="ctr"/>
            <a:r>
              <a:rPr lang="it-IT" sz="1400" i="1" dirty="0"/>
              <a:t>(Acquistapace et al. 2022)</a:t>
            </a:r>
            <a:endParaRPr lang="it-IT" sz="1749" i="1" dirty="0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6994661-33F6-B86E-93C0-F30159E78FB6}"/>
              </a:ext>
            </a:extLst>
          </p:cNvPr>
          <p:cNvSpPr txBox="1"/>
          <p:nvPr/>
        </p:nvSpPr>
        <p:spPr>
          <a:xfrm>
            <a:off x="1353054" y="5226401"/>
            <a:ext cx="2658548" cy="5111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1361" dirty="0"/>
              <a:t>Sea </a:t>
            </a:r>
            <a:r>
              <a:rPr lang="it-IT" sz="1361" dirty="0" err="1"/>
              <a:t>Sfc</a:t>
            </a:r>
            <a:r>
              <a:rPr lang="it-IT" sz="1361" dirty="0"/>
              <a:t>. </a:t>
            </a:r>
            <a:r>
              <a:rPr lang="it-IT" sz="1361" dirty="0" err="1"/>
              <a:t>currents</a:t>
            </a:r>
            <a:r>
              <a:rPr lang="it-IT" sz="1361" dirty="0"/>
              <a:t> on 25° </a:t>
            </a:r>
            <a:r>
              <a:rPr lang="it-IT" sz="1361" dirty="0" err="1"/>
              <a:t>Jan</a:t>
            </a:r>
            <a:r>
              <a:rPr lang="it-IT" sz="1361" dirty="0"/>
              <a:t> 2020</a:t>
            </a:r>
          </a:p>
          <a:p>
            <a:pPr algn="ctr"/>
            <a:r>
              <a:rPr lang="it-IT" sz="1361" dirty="0"/>
              <a:t> </a:t>
            </a:r>
            <a:r>
              <a:rPr lang="it-IT" sz="1361" dirty="0" err="1">
                <a:hlinkClick r:id="rId2"/>
              </a:rPr>
              <a:t>earth.null.school</a:t>
            </a:r>
            <a:endParaRPr lang="it-IT" sz="1361" dirty="0"/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8F1C1835-D9A8-1FCF-693D-6D323901D24F}"/>
              </a:ext>
            </a:extLst>
          </p:cNvPr>
          <p:cNvGrpSpPr/>
          <p:nvPr/>
        </p:nvGrpSpPr>
        <p:grpSpPr>
          <a:xfrm>
            <a:off x="1023387" y="1600200"/>
            <a:ext cx="3616908" cy="3256931"/>
            <a:chOff x="4965983" y="1518849"/>
            <a:chExt cx="3616908" cy="3256931"/>
          </a:xfrm>
        </p:grpSpPr>
        <p:pic>
          <p:nvPicPr>
            <p:cNvPr id="25" name="Immagine 24">
              <a:extLst>
                <a:ext uri="{FF2B5EF4-FFF2-40B4-BE49-F238E27FC236}">
                  <a16:creationId xmlns:a16="http://schemas.microsoft.com/office/drawing/2014/main" id="{B6293BB9-EC55-B476-5426-9A4A5306E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16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965983" y="1518849"/>
              <a:ext cx="3616908" cy="3256931"/>
            </a:xfrm>
            <a:prstGeom prst="rect">
              <a:avLst/>
            </a:prstGeom>
          </p:spPr>
        </p:pic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C3B7E60C-2D8D-95E4-D79E-FF791BA60D92}"/>
                </a:ext>
              </a:extLst>
            </p:cNvPr>
            <p:cNvSpPr/>
            <p:nvPr/>
          </p:nvSpPr>
          <p:spPr>
            <a:xfrm>
              <a:off x="5054882" y="1943527"/>
              <a:ext cx="1822167" cy="1782135"/>
            </a:xfrm>
            <a:prstGeom prst="rect">
              <a:avLst/>
            </a:prstGeom>
            <a:noFill/>
            <a:ln>
              <a:solidFill>
                <a:srgbClr val="FF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 dirty="0"/>
            </a:p>
          </p:txBody>
        </p:sp>
      </p:grp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BA3711E6-DC90-CCE3-ED6D-55346BD8DE45}"/>
              </a:ext>
            </a:extLst>
          </p:cNvPr>
          <p:cNvGrpSpPr/>
          <p:nvPr/>
        </p:nvGrpSpPr>
        <p:grpSpPr>
          <a:xfrm>
            <a:off x="4931861" y="4531104"/>
            <a:ext cx="7123480" cy="1763569"/>
            <a:chOff x="4931861" y="4531104"/>
            <a:chExt cx="7123480" cy="1763569"/>
          </a:xfrm>
        </p:grpSpPr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B748EDDA-201D-3789-860E-7B2D8AF02383}"/>
                </a:ext>
              </a:extLst>
            </p:cNvPr>
            <p:cNvSpPr txBox="1"/>
            <p:nvPr/>
          </p:nvSpPr>
          <p:spPr>
            <a:xfrm>
              <a:off x="4931861" y="4619891"/>
              <a:ext cx="7123480" cy="167478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en-GB" dirty="0"/>
            </a:p>
          </p:txBody>
        </p:sp>
        <p:pic>
          <p:nvPicPr>
            <p:cNvPr id="30" name="Elemento grafico 29" descr="Punto interrogativo">
              <a:extLst>
                <a:ext uri="{FF2B5EF4-FFF2-40B4-BE49-F238E27FC236}">
                  <a16:creationId xmlns:a16="http://schemas.microsoft.com/office/drawing/2014/main" id="{E20EEF1A-49D9-A648-8666-F44AD9661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08543" y="4531104"/>
              <a:ext cx="1674782" cy="1674782"/>
            </a:xfrm>
            <a:prstGeom prst="rect">
              <a:avLst/>
            </a:prstGeom>
          </p:spPr>
        </p:pic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8C075EAA-430B-F4C9-D431-22A4CFDC8907}"/>
                </a:ext>
              </a:extLst>
            </p:cNvPr>
            <p:cNvSpPr txBox="1"/>
            <p:nvPr/>
          </p:nvSpPr>
          <p:spPr>
            <a:xfrm>
              <a:off x="6435591" y="4835653"/>
              <a:ext cx="56197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SST </a:t>
              </a:r>
              <a:r>
                <a:rPr lang="it-IT" dirty="0" err="1"/>
                <a:t>variability</a:t>
              </a:r>
              <a:r>
                <a:rPr lang="it-IT" dirty="0"/>
                <a:t> act to modulate </a:t>
              </a:r>
              <a:r>
                <a:rPr lang="it-IT" dirty="0" err="1"/>
                <a:t>surface</a:t>
              </a:r>
              <a:r>
                <a:rPr lang="it-IT" dirty="0"/>
                <a:t> </a:t>
              </a:r>
              <a:r>
                <a:rPr lang="it-IT" dirty="0" err="1"/>
                <a:t>fluxes</a:t>
              </a:r>
              <a:r>
                <a:rPr lang="it-IT" dirty="0"/>
                <a:t> and </a:t>
              </a:r>
              <a:r>
                <a:rPr lang="it-IT" dirty="0" err="1"/>
                <a:t>hence</a:t>
              </a:r>
              <a:r>
                <a:rPr lang="it-IT" dirty="0"/>
                <a:t> the air </a:t>
              </a:r>
              <a:r>
                <a:rPr lang="it-IT" dirty="0" err="1"/>
                <a:t>column</a:t>
              </a:r>
              <a:r>
                <a:rPr lang="it-IT" dirty="0"/>
                <a:t> </a:t>
              </a:r>
              <a:r>
                <a:rPr lang="it-IT" dirty="0" err="1"/>
                <a:t>response</a:t>
              </a:r>
              <a:r>
                <a:rPr lang="it-IT" dirty="0"/>
                <a:t>?</a:t>
              </a:r>
              <a:endParaRPr lang="en-GB" dirty="0"/>
            </a:p>
          </p:txBody>
        </p:sp>
        <p:sp>
          <p:nvSpPr>
            <p:cNvPr id="32" name="CasellaDiTesto 31">
              <a:extLst>
                <a:ext uri="{FF2B5EF4-FFF2-40B4-BE49-F238E27FC236}">
                  <a16:creationId xmlns:a16="http://schemas.microsoft.com/office/drawing/2014/main" id="{016C91CB-20E7-F494-D1C6-214D8C34C143}"/>
                </a:ext>
              </a:extLst>
            </p:cNvPr>
            <p:cNvSpPr txBox="1"/>
            <p:nvPr/>
          </p:nvSpPr>
          <p:spPr>
            <a:xfrm>
              <a:off x="6435591" y="5611911"/>
              <a:ext cx="5619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the </a:t>
              </a:r>
              <a:r>
                <a:rPr lang="it-IT" dirty="0" err="1"/>
                <a:t>importance</a:t>
              </a:r>
              <a:r>
                <a:rPr lang="it-IT" dirty="0"/>
                <a:t> of SST </a:t>
              </a:r>
              <a:r>
                <a:rPr lang="it-IT" dirty="0" err="1"/>
                <a:t>change</a:t>
              </a:r>
              <a:r>
                <a:rPr lang="it-IT" dirty="0"/>
                <a:t> with </a:t>
              </a:r>
              <a:r>
                <a:rPr lang="it-IT" dirty="0" err="1"/>
                <a:t>scales</a:t>
              </a:r>
              <a:r>
                <a:rPr lang="it-IT" dirty="0"/>
                <a:t>?</a:t>
              </a:r>
              <a:endParaRPr lang="en-GB" dirty="0"/>
            </a:p>
          </p:txBody>
        </p:sp>
      </p:grpSp>
      <p:sp>
        <p:nvSpPr>
          <p:cNvPr id="33" name="Titolo 5">
            <a:extLst>
              <a:ext uri="{FF2B5EF4-FFF2-40B4-BE49-F238E27FC236}">
                <a16:creationId xmlns:a16="http://schemas.microsoft.com/office/drawing/2014/main" id="{314AD738-CB27-90E5-38E2-F700FE8655A3}"/>
              </a:ext>
            </a:extLst>
          </p:cNvPr>
          <p:cNvSpPr txBox="1">
            <a:spLocks/>
          </p:cNvSpPr>
          <p:nvPr/>
        </p:nvSpPr>
        <p:spPr>
          <a:xfrm>
            <a:off x="876612" y="199159"/>
            <a:ext cx="5957752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he sub- / mesoscale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9868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  <p:bldP spid="2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83E304-1C8F-9DAF-1F9F-078CD5230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7FFD7BD-63CA-6326-1ACD-876E0C6020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FBA8136-4738-D1C3-DC0A-1FDF5C1E99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956" y="1262267"/>
            <a:ext cx="3605898" cy="3042032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81DB74AD-469B-AAFC-59AE-9F5D388DBD69}"/>
              </a:ext>
            </a:extLst>
          </p:cNvPr>
          <p:cNvSpPr txBox="1"/>
          <p:nvPr/>
        </p:nvSpPr>
        <p:spPr>
          <a:xfrm>
            <a:off x="1549651" y="4929075"/>
            <a:ext cx="3684889" cy="1525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555" i="1" dirty="0" err="1"/>
              <a:t>starring</a:t>
            </a:r>
            <a:r>
              <a:rPr lang="it-IT" sz="1555" i="1" dirty="0"/>
              <a:t>:</a:t>
            </a:r>
          </a:p>
          <a:p>
            <a:endParaRPr lang="it-IT" sz="1555" i="1" dirty="0"/>
          </a:p>
          <a:p>
            <a:r>
              <a:rPr lang="it-IT" sz="1555" i="1" dirty="0"/>
              <a:t>Stevens et al. 2002</a:t>
            </a:r>
          </a:p>
          <a:p>
            <a:r>
              <a:rPr lang="it-IT" sz="1555" i="1" dirty="0" err="1"/>
              <a:t>Neggers</a:t>
            </a:r>
            <a:r>
              <a:rPr lang="it-IT" sz="1555" i="1" dirty="0"/>
              <a:t> et al. 2006</a:t>
            </a:r>
          </a:p>
          <a:p>
            <a:r>
              <a:rPr lang="it-IT" sz="1555" i="1" dirty="0"/>
              <a:t>Naumann et al. 2019</a:t>
            </a:r>
          </a:p>
          <a:p>
            <a:endParaRPr lang="en-GB" sz="1555" i="1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DC56209E-04C6-F296-1300-E97C91F40DDD}"/>
              </a:ext>
            </a:extLst>
          </p:cNvPr>
          <p:cNvCxnSpPr>
            <a:cxnSpLocks/>
          </p:cNvCxnSpPr>
          <p:nvPr/>
        </p:nvCxnSpPr>
        <p:spPr>
          <a:xfrm>
            <a:off x="83273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3A0A009-5590-73E1-10F7-FB8406937E78}"/>
              </a:ext>
            </a:extLst>
          </p:cNvPr>
          <p:cNvSpPr txBox="1"/>
          <p:nvPr/>
        </p:nvSpPr>
        <p:spPr>
          <a:xfrm>
            <a:off x="1056445" y="4401121"/>
            <a:ext cx="2958920" cy="628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944" i="1" dirty="0" err="1"/>
              <a:t>Conceptual</a:t>
            </a:r>
            <a:r>
              <a:rPr lang="it-IT" sz="1944" i="1" dirty="0"/>
              <a:t> Bulk model</a:t>
            </a:r>
            <a:r>
              <a:rPr lang="it-IT" sz="1555" i="1" dirty="0"/>
              <a:t> </a:t>
            </a:r>
          </a:p>
          <a:p>
            <a:endParaRPr lang="en-GB" sz="1555" i="1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EC46C88-4A41-EE9E-D53E-75E11E04A7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2996" y="1026833"/>
            <a:ext cx="5142559" cy="4919662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6AC6B0-B365-0B38-3CF5-458E8BC639FC}"/>
              </a:ext>
            </a:extLst>
          </p:cNvPr>
          <p:cNvSpPr txBox="1"/>
          <p:nvPr/>
        </p:nvSpPr>
        <p:spPr>
          <a:xfrm>
            <a:off x="1290854" y="176115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minimal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hysics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pproach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2030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833D9A1A-82F0-8408-6BED-6739C9443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763" y="825927"/>
            <a:ext cx="4958237" cy="5680530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B432862-7EB0-324F-2EE6-BF55F2935C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331E7DD-96E0-8521-4B50-01DF4FBC82A0}"/>
              </a:ext>
            </a:extLst>
          </p:cNvPr>
          <p:cNvCxnSpPr>
            <a:cxnSpLocks/>
          </p:cNvCxnSpPr>
          <p:nvPr/>
        </p:nvCxnSpPr>
        <p:spPr>
          <a:xfrm>
            <a:off x="83206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/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400" i="1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400" dirty="0"/>
              </a:p>
              <a:p>
                <a:endParaRPr lang="it-IT" sz="2400" dirty="0"/>
              </a:p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dirty="0"/>
                  <a:t>   </a:t>
                </a:r>
                <a:r>
                  <a:rPr lang="it-IT" dirty="0" err="1"/>
                  <a:t>is</a:t>
                </a:r>
                <a:r>
                  <a:rPr lang="it-IT" dirty="0"/>
                  <a:t> the water </a:t>
                </a:r>
                <a:r>
                  <a:rPr lang="it-IT" dirty="0" err="1"/>
                  <a:t>vapour</a:t>
                </a:r>
                <a:r>
                  <a:rPr lang="it-IT" dirty="0"/>
                  <a:t> mixing ratio </a:t>
                </a:r>
                <a:r>
                  <a:rPr lang="it-IT" dirty="0" err="1"/>
                  <a:t>at</a:t>
                </a:r>
                <a:r>
                  <a:rPr lang="it-IT" dirty="0"/>
                  <a:t> </a:t>
                </a:r>
                <a:r>
                  <a:rPr lang="it-IT" dirty="0" err="1"/>
                  <a:t>saturation</a:t>
                </a:r>
                <a:endParaRPr lang="it-IT" dirty="0"/>
              </a:p>
            </p:txBody>
          </p:sp>
        </mc:Choice>
        <mc:Fallback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blipFill>
                <a:blip r:embed="rId3"/>
                <a:stretch>
                  <a:fillRect r="-2104" b="-61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e 9">
            <a:extLst>
              <a:ext uri="{FF2B5EF4-FFF2-40B4-BE49-F238E27FC236}">
                <a16:creationId xmlns:a16="http://schemas.microsoft.com/office/drawing/2014/main" id="{95520413-CC74-06C4-5579-51AE85CF243A}"/>
              </a:ext>
            </a:extLst>
          </p:cNvPr>
          <p:cNvSpPr/>
          <p:nvPr/>
        </p:nvSpPr>
        <p:spPr>
          <a:xfrm>
            <a:off x="1128542" y="1847159"/>
            <a:ext cx="1435302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2C1D2604-F233-E86E-6F9F-720FE87A3E19}"/>
              </a:ext>
            </a:extLst>
          </p:cNvPr>
          <p:cNvSpPr/>
          <p:nvPr/>
        </p:nvSpPr>
        <p:spPr>
          <a:xfrm>
            <a:off x="3524827" y="1834682"/>
            <a:ext cx="132132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58BB770F-8280-ED00-11C7-EC0CF3D4961B}"/>
              </a:ext>
            </a:extLst>
          </p:cNvPr>
          <p:cNvSpPr/>
          <p:nvPr/>
        </p:nvSpPr>
        <p:spPr>
          <a:xfrm>
            <a:off x="3437679" y="4667693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D1A74B26-3217-6E61-5FD4-5F1A3C5ADA50}"/>
              </a:ext>
            </a:extLst>
          </p:cNvPr>
          <p:cNvSpPr/>
          <p:nvPr/>
        </p:nvSpPr>
        <p:spPr>
          <a:xfrm>
            <a:off x="1068581" y="4646612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AEC94D6B-9FB7-53B7-1724-6D172DDC2F98}"/>
              </a:ext>
            </a:extLst>
          </p:cNvPr>
          <p:cNvSpPr txBox="1"/>
          <p:nvPr/>
        </p:nvSpPr>
        <p:spPr>
          <a:xfrm>
            <a:off x="6294983" y="1369149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800" b="1" dirty="0"/>
              <a:t>High-</a:t>
            </a:r>
            <a:r>
              <a:rPr lang="it-IT" sz="1800" b="1" dirty="0" err="1"/>
              <a:t>resolution</a:t>
            </a:r>
            <a:r>
              <a:rPr lang="it-IT" sz="1800" b="1" dirty="0"/>
              <a:t> WRF </a:t>
            </a:r>
            <a:r>
              <a:rPr lang="it-IT" sz="1800" b="1" dirty="0" err="1"/>
              <a:t>simulation</a:t>
            </a:r>
            <a:r>
              <a:rPr lang="it-IT" sz="1800" dirty="0"/>
              <a:t>: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Gridspace</a:t>
            </a:r>
            <a:r>
              <a:rPr lang="it-IT" sz="1800" dirty="0"/>
              <a:t>  3km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SST forcing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</a:t>
            </a:r>
            <a:r>
              <a:rPr lang="it-IT" sz="1800" dirty="0" err="1"/>
              <a:t>averages</a:t>
            </a:r>
            <a:r>
              <a:rPr lang="it-IT" sz="1800" dirty="0"/>
              <a:t> in </a:t>
            </a:r>
            <a:r>
              <a:rPr lang="it-IT" sz="1800" dirty="0" err="1"/>
              <a:t>February</a:t>
            </a:r>
            <a:r>
              <a:rPr lang="it-IT" sz="1800" dirty="0"/>
              <a:t> 2020</a:t>
            </a:r>
          </a:p>
          <a:p>
            <a:pPr marL="277720" indent="-277720">
              <a:buFontTx/>
              <a:buChar char="-"/>
            </a:pPr>
            <a:r>
              <a:rPr lang="it-IT" sz="1800" dirty="0"/>
              <a:t>EUREC4A </a:t>
            </a:r>
            <a:r>
              <a:rPr lang="it-IT" sz="1800" dirty="0" err="1"/>
              <a:t>region</a:t>
            </a:r>
            <a:r>
              <a:rPr lang="it-IT" sz="1800" dirty="0"/>
              <a:t>  </a:t>
            </a:r>
            <a:r>
              <a:rPr lang="it-IT" sz="1200" dirty="0"/>
              <a:t>(</a:t>
            </a:r>
            <a:r>
              <a:rPr lang="it-IT" sz="1200" i="1" dirty="0"/>
              <a:t>Stevens et al. 2021)</a:t>
            </a:r>
            <a:endParaRPr lang="en-GB" sz="1800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C4C836A-3392-62C8-6F2E-21B731B87FAA}"/>
              </a:ext>
            </a:extLst>
          </p:cNvPr>
          <p:cNvSpPr txBox="1"/>
          <p:nvPr/>
        </p:nvSpPr>
        <p:spPr>
          <a:xfrm>
            <a:off x="1164655" y="187702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ealist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(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mplex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) set-up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094592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3F12C-7786-820C-2A15-2CBDC57ED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C553FB7-CA40-0684-2BDB-A35FA03665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Vorname Nachname	Kurztitel | TT.MM.JJJJ	</a:t>
            </a:r>
            <a:r>
              <a:rPr lang="de-DE" sz="1100" dirty="0"/>
              <a:t>6</a:t>
            </a:r>
            <a:endParaRPr lang="de-DE" dirty="0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B82685-1674-2F00-1463-3FDAAAEE4957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CC60AEC6-9EF1-F9D8-4326-F9DBBAE04D3A}"/>
              </a:ext>
            </a:extLst>
          </p:cNvPr>
          <p:cNvCxnSpPr>
            <a:cxnSpLocks/>
          </p:cNvCxnSpPr>
          <p:nvPr/>
        </p:nvCxnSpPr>
        <p:spPr>
          <a:xfrm flipH="1" flipV="1">
            <a:off x="1640591" y="2356701"/>
            <a:ext cx="11866" cy="28957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2 24">
            <a:extLst>
              <a:ext uri="{FF2B5EF4-FFF2-40B4-BE49-F238E27FC236}">
                <a16:creationId xmlns:a16="http://schemas.microsoft.com/office/drawing/2014/main" id="{C0BF875B-4704-96E6-F7F9-4F493593342F}"/>
              </a:ext>
            </a:extLst>
          </p:cNvPr>
          <p:cNvCxnSpPr>
            <a:cxnSpLocks/>
          </p:cNvCxnSpPr>
          <p:nvPr/>
        </p:nvCxnSpPr>
        <p:spPr>
          <a:xfrm>
            <a:off x="162443" y="3915266"/>
            <a:ext cx="29058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14:cNvPr>
              <p14:cNvContentPartPr/>
              <p14:nvPr/>
            </p14:nvContentPartPr>
            <p14:xfrm>
              <a:off x="1542746" y="2477662"/>
              <a:ext cx="360" cy="360"/>
            </p14:xfrm>
          </p:contentPart>
        </mc:Choice>
        <mc:Fallback>
          <p:pic>
            <p:nvPicPr>
              <p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24746" y="2459662"/>
                <a:ext cx="36000" cy="3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E82A5F14-790C-B0F6-B958-ABBF98DDD5D6}"/>
              </a:ext>
            </a:extLst>
          </p:cNvPr>
          <p:cNvGrpSpPr/>
          <p:nvPr/>
        </p:nvGrpSpPr>
        <p:grpSpPr>
          <a:xfrm>
            <a:off x="792146" y="2912542"/>
            <a:ext cx="1562760" cy="1821240"/>
            <a:chOff x="958657" y="2045276"/>
            <a:chExt cx="1562760" cy="1821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14:cNvPr>
                <p14:cNvContentPartPr/>
                <p14:nvPr/>
              </p14:nvContentPartPr>
              <p14:xfrm>
                <a:off x="2306137" y="2076596"/>
                <a:ext cx="7920" cy="37440"/>
              </p14:xfrm>
            </p:contentPart>
          </mc:Choice>
          <mc:Fallback xmlns="">
            <p:pic>
              <p:nvPicPr>
                <p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288497" y="2058956"/>
                  <a:ext cx="4356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14:cNvPr>
                <p14:cNvContentPartPr/>
                <p14:nvPr/>
              </p14:nvContentPartPr>
              <p14:xfrm>
                <a:off x="2316217" y="2082356"/>
                <a:ext cx="6120" cy="10440"/>
              </p14:xfrm>
            </p:contentPart>
          </mc:Choice>
          <mc:Fallback xmlns="">
            <p:pic>
              <p:nvPicPr>
                <p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298577" y="2064716"/>
                  <a:ext cx="4176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14:cNvPr>
                <p14:cNvContentPartPr/>
                <p14:nvPr/>
              </p14:nvContentPartPr>
              <p14:xfrm>
                <a:off x="2216137" y="2114396"/>
                <a:ext cx="10440" cy="12600"/>
              </p14:xfrm>
            </p:contentPart>
          </mc:Choice>
          <mc:Fallback xmlns="">
            <p:pic>
              <p:nvPicPr>
                <p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198497" y="2096396"/>
                  <a:ext cx="4608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14:cNvPr>
                <p14:cNvContentPartPr/>
                <p14:nvPr/>
              </p14:nvContentPartPr>
              <p14:xfrm>
                <a:off x="2039737" y="2278196"/>
                <a:ext cx="34920" cy="47520"/>
              </p14:xfrm>
            </p:contentPart>
          </mc:Choice>
          <mc:Fallback xmlns="">
            <p:pic>
              <p:nvPicPr>
                <p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021737" y="2260196"/>
                  <a:ext cx="70560" cy="8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14:cNvPr>
                <p14:cNvContentPartPr/>
                <p14:nvPr/>
              </p14:nvContentPartPr>
              <p14:xfrm>
                <a:off x="1971337" y="2391956"/>
                <a:ext cx="37440" cy="37440"/>
              </p14:xfrm>
            </p:contentPart>
          </mc:Choice>
          <mc:Fallback xmlns="">
            <p:pic>
              <p:nvPicPr>
                <p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953697" y="2374316"/>
                  <a:ext cx="7308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14:cNvPr>
                <p14:cNvContentPartPr/>
                <p14:nvPr/>
              </p14:nvContentPartPr>
              <p14:xfrm>
                <a:off x="1994377" y="2453876"/>
                <a:ext cx="4320" cy="29160"/>
              </p14:xfrm>
            </p:contentPart>
          </mc:Choice>
          <mc:Fallback xmlns="">
            <p:pic>
              <p:nvPicPr>
                <p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976377" y="2436236"/>
                  <a:ext cx="399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14:cNvPr>
                <p14:cNvContentPartPr/>
                <p14:nvPr/>
              </p14:nvContentPartPr>
              <p14:xfrm>
                <a:off x="2194537" y="2205836"/>
                <a:ext cx="53280" cy="10440"/>
              </p14:xfrm>
            </p:contentPart>
          </mc:Choice>
          <mc:Fallback xmlns="">
            <p:pic>
              <p:nvPicPr>
                <p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2176897" y="2188196"/>
                  <a:ext cx="8892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14:cNvPr>
                <p14:cNvContentPartPr/>
                <p14:nvPr/>
              </p14:nvContentPartPr>
              <p14:xfrm>
                <a:off x="2239897" y="2234636"/>
                <a:ext cx="12960" cy="8640"/>
              </p14:xfrm>
            </p:contentPart>
          </mc:Choice>
          <mc:Fallback xmlns="">
            <p:pic>
              <p:nvPicPr>
                <p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2221897" y="2216636"/>
                  <a:ext cx="4860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14:cNvPr>
                <p14:cNvContentPartPr/>
                <p14:nvPr/>
              </p14:nvContentPartPr>
              <p14:xfrm>
                <a:off x="2087257" y="2345876"/>
                <a:ext cx="45720" cy="35640"/>
              </p14:xfrm>
            </p:contentPart>
          </mc:Choice>
          <mc:Fallback xmlns="">
            <p:pic>
              <p:nvPicPr>
                <p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2069617" y="2328236"/>
                  <a:ext cx="81360" cy="7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14:cNvPr>
                <p14:cNvContentPartPr/>
                <p14:nvPr/>
              </p14:nvContentPartPr>
              <p14:xfrm>
                <a:off x="2013457" y="2470796"/>
                <a:ext cx="18360" cy="45000"/>
              </p14:xfrm>
            </p:contentPart>
          </mc:Choice>
          <mc:Fallback xmlns="">
            <p:pic>
              <p:nvPicPr>
                <p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1995457" y="2452796"/>
                  <a:ext cx="5400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14:cNvPr>
                <p14:cNvContentPartPr/>
                <p14:nvPr/>
              </p14:nvContentPartPr>
              <p14:xfrm>
                <a:off x="2202817" y="2414996"/>
                <a:ext cx="60840" cy="10440"/>
              </p14:xfrm>
            </p:contentPart>
          </mc:Choice>
          <mc:Fallback xmlns="">
            <p:pic>
              <p:nvPicPr>
                <p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2185177" y="2397356"/>
                  <a:ext cx="9648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14:cNvPr>
                <p14:cNvContentPartPr/>
                <p14:nvPr/>
              </p14:nvContentPartPr>
              <p14:xfrm>
                <a:off x="2394337" y="2230676"/>
                <a:ext cx="28440" cy="19440"/>
              </p14:xfrm>
            </p:contentPart>
          </mc:Choice>
          <mc:Fallback xmlns="">
            <p:pic>
              <p:nvPicPr>
                <p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376337" y="2213036"/>
                  <a:ext cx="6408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14:cNvPr>
                <p14:cNvContentPartPr/>
                <p14:nvPr/>
              </p14:nvContentPartPr>
              <p14:xfrm>
                <a:off x="2411977" y="2205836"/>
                <a:ext cx="16920" cy="6840"/>
              </p14:xfrm>
            </p:contentPart>
          </mc:Choice>
          <mc:Fallback xmlns="">
            <p:pic>
              <p:nvPicPr>
                <p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394337" y="2188196"/>
                  <a:ext cx="5256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14:cNvPr>
                <p14:cNvContentPartPr/>
                <p14:nvPr/>
              </p14:nvContentPartPr>
              <p14:xfrm>
                <a:off x="2351497" y="2425796"/>
                <a:ext cx="14400" cy="50400"/>
              </p14:xfrm>
            </p:contentPart>
          </mc:Choice>
          <mc:Fallback xmlns="">
            <p:pic>
              <p:nvPicPr>
                <p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2333497" y="2408156"/>
                  <a:ext cx="5004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14:cNvPr>
                <p14:cNvContentPartPr/>
                <p14:nvPr/>
              </p14:nvContentPartPr>
              <p14:xfrm>
                <a:off x="2278057" y="2555036"/>
                <a:ext cx="24120" cy="63720"/>
              </p14:xfrm>
            </p:contentPart>
          </mc:Choice>
          <mc:Fallback xmlns="">
            <p:pic>
              <p:nvPicPr>
                <p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2260417" y="2537396"/>
                  <a:ext cx="5976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14:cNvPr>
                <p14:cNvContentPartPr/>
                <p14:nvPr/>
              </p14:nvContentPartPr>
              <p14:xfrm>
                <a:off x="2064937" y="2700836"/>
                <a:ext cx="49320" cy="43200"/>
              </p14:xfrm>
            </p:contentPart>
          </mc:Choice>
          <mc:Fallback xmlns="">
            <p:pic>
              <p:nvPicPr>
                <p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2047297" y="2683196"/>
                  <a:ext cx="84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14:cNvPr>
                <p14:cNvContentPartPr/>
                <p14:nvPr/>
              </p14:nvContentPartPr>
              <p14:xfrm>
                <a:off x="2061337" y="2596796"/>
                <a:ext cx="24480" cy="34920"/>
              </p14:xfrm>
            </p:contentPart>
          </mc:Choice>
          <mc:Fallback xmlns="">
            <p:pic>
              <p:nvPicPr>
                <p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2043337" y="2578796"/>
                  <a:ext cx="601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14:cNvPr>
                <p14:cNvContentPartPr/>
                <p14:nvPr/>
              </p14:nvContentPartPr>
              <p14:xfrm>
                <a:off x="2130817" y="2548556"/>
                <a:ext cx="28440" cy="30600"/>
              </p14:xfrm>
            </p:contentPart>
          </mc:Choice>
          <mc:Fallback xmlns="">
            <p:pic>
              <p:nvPicPr>
                <p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2112817" y="2530916"/>
                  <a:ext cx="6408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14:cNvPr>
                <p14:cNvContentPartPr/>
                <p14:nvPr/>
              </p14:nvContentPartPr>
              <p14:xfrm>
                <a:off x="2323417" y="2482676"/>
                <a:ext cx="47520" cy="16920"/>
              </p14:xfrm>
            </p:contentPart>
          </mc:Choice>
          <mc:Fallback xmlns="">
            <p:pic>
              <p:nvPicPr>
                <p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2305417" y="2465036"/>
                  <a:ext cx="8316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14:cNvPr>
                <p14:cNvContentPartPr/>
                <p14:nvPr/>
              </p14:nvContentPartPr>
              <p14:xfrm>
                <a:off x="2444017" y="2493116"/>
                <a:ext cx="43560" cy="30960"/>
              </p14:xfrm>
            </p:contentPart>
          </mc:Choice>
          <mc:Fallback xmlns="">
            <p:pic>
              <p:nvPicPr>
                <p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426017" y="2475116"/>
                  <a:ext cx="792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14:cNvPr>
                <p14:cNvContentPartPr/>
                <p14:nvPr/>
              </p14:nvContentPartPr>
              <p14:xfrm>
                <a:off x="2327377" y="2596796"/>
                <a:ext cx="31680" cy="45720"/>
              </p14:xfrm>
            </p:contentPart>
          </mc:Choice>
          <mc:Fallback xmlns="">
            <p:pic>
              <p:nvPicPr>
                <p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2309377" y="2578796"/>
                  <a:ext cx="67320" cy="8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14:cNvPr>
                <p14:cNvContentPartPr/>
                <p14:nvPr/>
              </p14:nvContentPartPr>
              <p14:xfrm>
                <a:off x="2468497" y="2423276"/>
                <a:ext cx="40320" cy="32040"/>
              </p14:xfrm>
            </p:contentPart>
          </mc:Choice>
          <mc:Fallback xmlns="">
            <p:pic>
              <p:nvPicPr>
                <p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2450497" y="2405636"/>
                  <a:ext cx="75960" cy="6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14:cNvPr>
                <p14:cNvContentPartPr/>
                <p14:nvPr/>
              </p14:nvContentPartPr>
              <p14:xfrm>
                <a:off x="2516737" y="2381876"/>
                <a:ext cx="4680" cy="15840"/>
              </p14:xfrm>
            </p:contentPart>
          </mc:Choice>
          <mc:Fallback xmlns="">
            <p:pic>
              <p:nvPicPr>
                <p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2498737" y="2363876"/>
                  <a:ext cx="403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14:cNvPr>
                <p14:cNvContentPartPr/>
                <p14:nvPr/>
              </p14:nvContentPartPr>
              <p14:xfrm>
                <a:off x="2440777" y="2315996"/>
                <a:ext cx="33480" cy="28440"/>
              </p14:xfrm>
            </p:contentPart>
          </mc:Choice>
          <mc:Fallback xmlns="">
            <p:pic>
              <p:nvPicPr>
                <p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2422777" y="2297996"/>
                  <a:ext cx="69120" cy="6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14:cNvPr>
                <p14:cNvContentPartPr/>
                <p14:nvPr/>
              </p14:nvContentPartPr>
              <p14:xfrm>
                <a:off x="2492977" y="2193596"/>
                <a:ext cx="7920" cy="3096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2475337" y="2175956"/>
                  <a:ext cx="435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14:cNvPr>
                <p14:cNvContentPartPr/>
                <p14:nvPr/>
              </p14:nvContentPartPr>
              <p14:xfrm>
                <a:off x="2492257" y="2045276"/>
                <a:ext cx="13680" cy="3672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2474617" y="2027636"/>
                  <a:ext cx="49320" cy="7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14:cNvPr>
                <p14:cNvContentPartPr/>
                <p14:nvPr/>
              </p14:nvContentPartPr>
              <p14:xfrm>
                <a:off x="2311177" y="2113676"/>
                <a:ext cx="40680" cy="162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2293537" y="2096036"/>
                  <a:ext cx="7632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14:cNvPr>
                <p14:cNvContentPartPr/>
                <p14:nvPr/>
              </p14:nvContentPartPr>
              <p14:xfrm>
                <a:off x="2132617" y="2249396"/>
                <a:ext cx="74880" cy="144360"/>
              </p14:xfrm>
            </p:contentPart>
          </mc:Choice>
          <mc:Fallback xmlns="">
            <p:pic>
              <p:nvPicPr>
                <p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2114977" y="2231396"/>
                  <a:ext cx="11052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14:cNvPr>
                <p14:cNvContentPartPr/>
                <p14:nvPr/>
              </p14:nvContentPartPr>
              <p14:xfrm>
                <a:off x="1961257" y="2539196"/>
                <a:ext cx="38520" cy="7956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943257" y="2521196"/>
                  <a:ext cx="74160" cy="11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14:cNvPr>
                <p14:cNvContentPartPr/>
                <p14:nvPr/>
              </p14:nvContentPartPr>
              <p14:xfrm>
                <a:off x="1815817" y="2688956"/>
                <a:ext cx="21240" cy="349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797817" y="2670956"/>
                  <a:ext cx="5688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14:cNvPr>
                <p14:cNvContentPartPr/>
                <p14:nvPr/>
              </p14:nvContentPartPr>
              <p14:xfrm>
                <a:off x="1917697" y="2486636"/>
                <a:ext cx="39960" cy="291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900057" y="2468996"/>
                  <a:ext cx="7560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14:cNvPr>
                <p14:cNvContentPartPr/>
                <p14:nvPr/>
              </p14:nvContentPartPr>
              <p14:xfrm>
                <a:off x="1924177" y="2523716"/>
                <a:ext cx="20880" cy="16920"/>
              </p14:xfrm>
            </p:contentPart>
          </mc:Choice>
          <mc:Fallback xmlns="">
            <p:pic>
              <p:nvPicPr>
                <p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906177" y="2506076"/>
                  <a:ext cx="5652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14:cNvPr>
                <p14:cNvContentPartPr/>
                <p14:nvPr/>
              </p14:nvContentPartPr>
              <p14:xfrm>
                <a:off x="1786297" y="2662676"/>
                <a:ext cx="22680" cy="2520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768657" y="2644676"/>
                  <a:ext cx="5832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14:cNvPr>
                <p14:cNvContentPartPr/>
                <p14:nvPr/>
              </p14:nvContentPartPr>
              <p14:xfrm>
                <a:off x="1634737" y="2829356"/>
                <a:ext cx="4680" cy="241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616737" y="2811716"/>
                  <a:ext cx="403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14:cNvPr>
                <p14:cNvContentPartPr/>
                <p14:nvPr/>
              </p14:nvContentPartPr>
              <p14:xfrm>
                <a:off x="1479577" y="2966516"/>
                <a:ext cx="18720" cy="42480"/>
              </p14:xfrm>
            </p:contentPart>
          </mc:Choice>
          <mc:Fallback xmlns="">
            <p:pic>
              <p:nvPicPr>
                <p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461937" y="2948516"/>
                  <a:ext cx="5436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14:cNvPr>
                <p14:cNvContentPartPr/>
                <p14:nvPr/>
              </p14:nvContentPartPr>
              <p14:xfrm>
                <a:off x="1360417" y="3128876"/>
                <a:ext cx="360" cy="3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342417" y="311087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14:cNvPr>
                <p14:cNvContentPartPr/>
                <p14:nvPr/>
              </p14:nvContentPartPr>
              <p14:xfrm>
                <a:off x="1216417" y="3267836"/>
                <a:ext cx="360" cy="540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198417" y="3249836"/>
                  <a:ext cx="36000" cy="4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14:cNvPr>
                <p14:cNvContentPartPr/>
                <p14:nvPr/>
              </p14:nvContentPartPr>
              <p14:xfrm>
                <a:off x="1229737" y="3370796"/>
                <a:ext cx="3600" cy="2196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1211737" y="3352796"/>
                  <a:ext cx="392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14:cNvPr>
                <p14:cNvContentPartPr/>
                <p14:nvPr/>
              </p14:nvContentPartPr>
              <p14:xfrm>
                <a:off x="1247017" y="3467276"/>
                <a:ext cx="25200" cy="2196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229017" y="3449276"/>
                  <a:ext cx="60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14:cNvPr>
                <p14:cNvContentPartPr/>
                <p14:nvPr/>
              </p14:nvContentPartPr>
              <p14:xfrm>
                <a:off x="1258537" y="3623876"/>
                <a:ext cx="13680" cy="2088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240537" y="3606236"/>
                  <a:ext cx="4932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14:cNvPr>
                <p14:cNvContentPartPr/>
                <p14:nvPr/>
              </p14:nvContentPartPr>
              <p14:xfrm>
                <a:off x="1065217" y="3611276"/>
                <a:ext cx="27000" cy="3168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1047217" y="3593276"/>
                  <a:ext cx="62640" cy="6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14:cNvPr>
                <p14:cNvContentPartPr/>
                <p14:nvPr/>
              </p14:nvContentPartPr>
              <p14:xfrm>
                <a:off x="1028857" y="3626036"/>
                <a:ext cx="360" cy="36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10857" y="36080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14:cNvPr>
                <p14:cNvContentPartPr/>
                <p14:nvPr/>
              </p14:nvContentPartPr>
              <p14:xfrm>
                <a:off x="1285897" y="3247316"/>
                <a:ext cx="11160" cy="33480"/>
              </p14:xfrm>
            </p:contentPart>
          </mc:Choice>
          <mc:Fallback xmlns=""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267897" y="3229316"/>
                  <a:ext cx="4680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14:cNvPr>
                <p14:cNvContentPartPr/>
                <p14:nvPr/>
              </p14:nvContentPartPr>
              <p14:xfrm>
                <a:off x="1115617" y="3455036"/>
                <a:ext cx="37440" cy="1692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97617" y="3437396"/>
                  <a:ext cx="7308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14:cNvPr>
                <p14:cNvContentPartPr/>
                <p14:nvPr/>
              </p14:nvContentPartPr>
              <p14:xfrm>
                <a:off x="1023817" y="3590756"/>
                <a:ext cx="10080" cy="15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005817" y="3572756"/>
                  <a:ext cx="457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14:cNvPr>
                <p14:cNvContentPartPr/>
                <p14:nvPr/>
              </p14:nvContentPartPr>
              <p14:xfrm>
                <a:off x="1311817" y="2719556"/>
                <a:ext cx="18720" cy="12600"/>
              </p14:xfrm>
            </p:contentPart>
          </mc:Choice>
          <mc:Fallback xmlns="">
            <p:pic>
              <p:nvPicPr>
                <p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294177" y="2701556"/>
                  <a:ext cx="5436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14:cNvPr>
                <p14:cNvContentPartPr/>
                <p14:nvPr/>
              </p14:nvContentPartPr>
              <p14:xfrm>
                <a:off x="1512337" y="2572316"/>
                <a:ext cx="11160" cy="1908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494337" y="2554676"/>
                  <a:ext cx="4680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14:cNvPr>
                <p14:cNvContentPartPr/>
                <p14:nvPr/>
              </p14:nvContentPartPr>
              <p14:xfrm>
                <a:off x="1759657" y="2189996"/>
                <a:ext cx="10440" cy="2664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741657" y="2171996"/>
                  <a:ext cx="4608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14:cNvPr>
                <p14:cNvContentPartPr/>
                <p14:nvPr/>
              </p14:nvContentPartPr>
              <p14:xfrm>
                <a:off x="2017777" y="3348836"/>
                <a:ext cx="360" cy="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000137" y="333119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3">
              <p14:nvContentPartPr>
                <p14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14:cNvPr>
                <p14:cNvContentPartPr/>
                <p14:nvPr/>
              </p14:nvContentPartPr>
              <p14:xfrm>
                <a:off x="2122537" y="3479876"/>
                <a:ext cx="360" cy="360"/>
              </p14:xfrm>
            </p:contentPart>
          </mc:Choice>
          <mc:Fallback xmlns="">
            <p:pic>
              <p:nvPicPr>
                <p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104537" y="34622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14:cNvPr>
                <p14:cNvContentPartPr/>
                <p14:nvPr/>
              </p14:nvContentPartPr>
              <p14:xfrm>
                <a:off x="1741657" y="3710996"/>
                <a:ext cx="35280" cy="3348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724017" y="3692996"/>
                  <a:ext cx="7092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14:cNvPr>
                <p14:cNvContentPartPr/>
                <p14:nvPr/>
              </p14:nvContentPartPr>
              <p14:xfrm>
                <a:off x="1438177" y="3438476"/>
                <a:ext cx="16920" cy="23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420537" y="3420476"/>
                  <a:ext cx="5256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14:cNvPr>
                <p14:cNvContentPartPr/>
                <p14:nvPr/>
              </p14:nvContentPartPr>
              <p14:xfrm>
                <a:off x="1053697" y="3734036"/>
                <a:ext cx="27000" cy="1908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035697" y="3716036"/>
                  <a:ext cx="6264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14:cNvPr>
                <p14:cNvContentPartPr/>
                <p14:nvPr/>
              </p14:nvContentPartPr>
              <p14:xfrm>
                <a:off x="1248097" y="3471596"/>
                <a:ext cx="120960" cy="10512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230457" y="3453956"/>
                  <a:ext cx="156600" cy="14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14:cNvPr>
                <p14:cNvContentPartPr/>
                <p14:nvPr/>
              </p14:nvContentPartPr>
              <p14:xfrm>
                <a:off x="1514857" y="3296276"/>
                <a:ext cx="51480" cy="2916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496857" y="3278636"/>
                  <a:ext cx="8712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14:cNvPr>
                <p14:cNvContentPartPr/>
                <p14:nvPr/>
              </p14:nvContentPartPr>
              <p14:xfrm>
                <a:off x="1687657" y="3145436"/>
                <a:ext cx="34200" cy="3924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669657" y="3127796"/>
                  <a:ext cx="6984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14:cNvPr>
                <p14:cNvContentPartPr/>
                <p14:nvPr/>
              </p14:nvContentPartPr>
              <p14:xfrm>
                <a:off x="1929217" y="2945996"/>
                <a:ext cx="65520" cy="2484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911577" y="2927996"/>
                  <a:ext cx="10116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14:cNvPr>
                <p14:cNvContentPartPr/>
                <p14:nvPr/>
              </p14:nvContentPartPr>
              <p14:xfrm>
                <a:off x="2088697" y="2881916"/>
                <a:ext cx="33480" cy="1260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2071057" y="2864276"/>
                  <a:ext cx="6912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14:cNvPr>
                <p14:cNvContentPartPr/>
                <p14:nvPr/>
              </p14:nvContentPartPr>
              <p14:xfrm>
                <a:off x="2010217" y="2783996"/>
                <a:ext cx="43560" cy="208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992577" y="2766356"/>
                  <a:ext cx="7920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14:cNvPr>
                <p14:cNvContentPartPr/>
                <p14:nvPr/>
              </p14:nvContentPartPr>
              <p14:xfrm>
                <a:off x="1917697" y="2778956"/>
                <a:ext cx="28440" cy="1512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900057" y="2761316"/>
                  <a:ext cx="6408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14:cNvPr>
                <p14:cNvContentPartPr/>
                <p14:nvPr/>
              </p14:nvContentPartPr>
              <p14:xfrm>
                <a:off x="1860457" y="2873636"/>
                <a:ext cx="11880" cy="2016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842457" y="2855996"/>
                  <a:ext cx="4752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14:cNvPr>
                <p14:cNvContentPartPr/>
                <p14:nvPr/>
              </p14:nvContentPartPr>
              <p14:xfrm>
                <a:off x="1863697" y="2969756"/>
                <a:ext cx="4320" cy="4320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845697" y="2951756"/>
                  <a:ext cx="39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14:cNvPr>
                <p14:cNvContentPartPr/>
                <p14:nvPr/>
              </p14:nvContentPartPr>
              <p14:xfrm>
                <a:off x="1977817" y="3032756"/>
                <a:ext cx="30960" cy="684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959817" y="3015116"/>
                  <a:ext cx="6660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14:cNvPr>
                <p14:cNvContentPartPr/>
                <p14:nvPr/>
              </p14:nvContentPartPr>
              <p14:xfrm>
                <a:off x="1976377" y="3092876"/>
                <a:ext cx="27000" cy="1764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958737" y="3075236"/>
                  <a:ext cx="6264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14:cNvPr>
                <p14:cNvContentPartPr/>
                <p14:nvPr/>
              </p14:nvContentPartPr>
              <p14:xfrm>
                <a:off x="1086097" y="3568796"/>
                <a:ext cx="213480" cy="7056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068457" y="3551156"/>
                  <a:ext cx="249120" cy="10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14:cNvPr>
                <p14:cNvContentPartPr/>
                <p14:nvPr/>
              </p14:nvContentPartPr>
              <p14:xfrm>
                <a:off x="1238737" y="3637916"/>
                <a:ext cx="15120" cy="2916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220737" y="3620276"/>
                  <a:ext cx="507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14:cNvPr>
                <p14:cNvContentPartPr/>
                <p14:nvPr/>
              </p14:nvContentPartPr>
              <p14:xfrm>
                <a:off x="1475257" y="3491036"/>
                <a:ext cx="57240" cy="2088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457257" y="3473036"/>
                  <a:ext cx="9288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14:cNvPr>
                <p14:cNvContentPartPr/>
                <p14:nvPr/>
              </p14:nvContentPartPr>
              <p14:xfrm>
                <a:off x="1591897" y="3369356"/>
                <a:ext cx="54000" cy="4068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574257" y="3351716"/>
                  <a:ext cx="89640" cy="7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14:cNvPr>
                <p14:cNvContentPartPr/>
                <p14:nvPr/>
              </p14:nvContentPartPr>
              <p14:xfrm>
                <a:off x="1741297" y="3250556"/>
                <a:ext cx="77400" cy="3816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723297" y="3232556"/>
                  <a:ext cx="11304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14:cNvPr>
                <p14:cNvContentPartPr/>
                <p14:nvPr/>
              </p14:nvContentPartPr>
              <p14:xfrm>
                <a:off x="1887817" y="3150476"/>
                <a:ext cx="26640" cy="3420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1870177" y="3132836"/>
                  <a:ext cx="62280" cy="6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14:cNvPr>
                <p14:cNvContentPartPr/>
                <p14:nvPr/>
              </p14:nvContentPartPr>
              <p14:xfrm>
                <a:off x="1874497" y="3020156"/>
                <a:ext cx="4680" cy="432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1856497" y="3002156"/>
                  <a:ext cx="4032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14:cNvPr>
                <p14:cNvContentPartPr/>
                <p14:nvPr/>
              </p14:nvContentPartPr>
              <p14:xfrm>
                <a:off x="1724377" y="2868596"/>
                <a:ext cx="20160" cy="2412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1706737" y="2850596"/>
                  <a:ext cx="5580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14:cNvPr>
                <p14:cNvContentPartPr/>
                <p14:nvPr/>
              </p14:nvContentPartPr>
              <p14:xfrm>
                <a:off x="1600897" y="2952836"/>
                <a:ext cx="21240" cy="1764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1582897" y="2935196"/>
                  <a:ext cx="5688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14:cNvPr>
                <p14:cNvContentPartPr/>
                <p14:nvPr/>
              </p14:nvContentPartPr>
              <p14:xfrm>
                <a:off x="1568857" y="3067316"/>
                <a:ext cx="8640" cy="25920"/>
              </p14:xfrm>
            </p:contentPart>
          </mc:Choice>
          <mc:Fallback xmlns="">
            <p:pic>
              <p:nvPicPr>
                <p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551217" y="3049676"/>
                  <a:ext cx="44280" cy="6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14:cNvPr>
                <p14:cNvContentPartPr/>
                <p14:nvPr/>
              </p14:nvContentPartPr>
              <p14:xfrm>
                <a:off x="1443217" y="3181436"/>
                <a:ext cx="11880" cy="2412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425577" y="3163436"/>
                  <a:ext cx="475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14:cNvPr>
                <p14:cNvContentPartPr/>
                <p14:nvPr/>
              </p14:nvContentPartPr>
              <p14:xfrm>
                <a:off x="1392817" y="3231836"/>
                <a:ext cx="15120" cy="8640"/>
              </p14:xfrm>
            </p:contentPart>
          </mc:Choice>
          <mc:Fallback xmlns="">
            <p:pic>
              <p:nvPicPr>
                <p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375177" y="3214196"/>
                  <a:ext cx="5076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14:cNvPr>
                <p14:cNvContentPartPr/>
                <p14:nvPr/>
              </p14:nvContentPartPr>
              <p14:xfrm>
                <a:off x="1077097" y="3250556"/>
                <a:ext cx="25200" cy="1080"/>
              </p14:xfrm>
            </p:contentPart>
          </mc:Choice>
          <mc:Fallback xmlns="">
            <p:pic>
              <p:nvPicPr>
                <p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059457" y="3232556"/>
                  <a:ext cx="60840" cy="3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14:cNvPr>
                <p14:cNvContentPartPr/>
                <p14:nvPr/>
              </p14:nvContentPartPr>
              <p14:xfrm>
                <a:off x="1024897" y="3461516"/>
                <a:ext cx="20880" cy="34920"/>
              </p14:xfrm>
            </p:contentPart>
          </mc:Choice>
          <mc:Fallback xmlns="">
            <p:pic>
              <p:nvPicPr>
                <p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007257" y="3443516"/>
                  <a:ext cx="565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14:cNvPr>
                <p14:cNvContentPartPr/>
                <p14:nvPr/>
              </p14:nvContentPartPr>
              <p14:xfrm>
                <a:off x="958657" y="3629636"/>
                <a:ext cx="2880" cy="39960"/>
              </p14:xfrm>
            </p:contentPart>
          </mc:Choice>
          <mc:Fallback xmlns="">
            <p:pic>
              <p:nvPicPr>
                <p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940657" y="3611996"/>
                  <a:ext cx="3852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14:cNvPr>
                <p14:cNvContentPartPr/>
                <p14:nvPr/>
              </p14:nvContentPartPr>
              <p14:xfrm>
                <a:off x="971257" y="3759596"/>
                <a:ext cx="4320" cy="57960"/>
              </p14:xfrm>
            </p:contentPart>
          </mc:Choice>
          <mc:Fallback xmlns="">
            <p:pic>
              <p:nvPicPr>
                <p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953617" y="3741596"/>
                  <a:ext cx="39960" cy="9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14:cNvPr>
                <p14:cNvContentPartPr/>
                <p14:nvPr/>
              </p14:nvContentPartPr>
              <p14:xfrm>
                <a:off x="1113097" y="3835556"/>
                <a:ext cx="108720" cy="30960"/>
              </p14:xfrm>
            </p:contentPart>
          </mc:Choice>
          <mc:Fallback xmlns="">
            <p:pic>
              <p:nvPicPr>
                <p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1095097" y="3817916"/>
                  <a:ext cx="1443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14:cNvPr>
                <p14:cNvContentPartPr/>
                <p14:nvPr/>
              </p14:nvContentPartPr>
              <p14:xfrm>
                <a:off x="1393897" y="3705236"/>
                <a:ext cx="41760" cy="30960"/>
              </p14:xfrm>
            </p:contentPart>
          </mc:Choice>
          <mc:Fallback xmlns="">
            <p:pic>
              <p:nvPicPr>
                <p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1375897" y="3687236"/>
                  <a:ext cx="774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14:cNvPr>
                <p14:cNvContentPartPr/>
                <p14:nvPr/>
              </p14:nvContentPartPr>
              <p14:xfrm>
                <a:off x="1563097" y="3556196"/>
                <a:ext cx="18720" cy="26640"/>
              </p14:xfrm>
            </p:contentPart>
          </mc:Choice>
          <mc:Fallback xmlns="">
            <p:pic>
              <p:nvPicPr>
                <p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545457" y="3538196"/>
                  <a:ext cx="5436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14:cNvPr>
                <p14:cNvContentPartPr/>
                <p14:nvPr/>
              </p14:nvContentPartPr>
              <p14:xfrm>
                <a:off x="1688377" y="3442796"/>
                <a:ext cx="31680" cy="38160"/>
              </p14:xfrm>
            </p:contentPart>
          </mc:Choice>
          <mc:Fallback xmlns="">
            <p:pic>
              <p:nvPicPr>
                <p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670377" y="3425156"/>
                  <a:ext cx="6732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14:cNvPr>
                <p14:cNvContentPartPr/>
                <p14:nvPr/>
              </p14:nvContentPartPr>
              <p14:xfrm>
                <a:off x="1377697" y="2985596"/>
                <a:ext cx="29160" cy="3744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359697" y="2967596"/>
                  <a:ext cx="6480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14:cNvPr>
                <p14:cNvContentPartPr/>
                <p14:nvPr/>
              </p14:nvContentPartPr>
              <p14:xfrm>
                <a:off x="1443217" y="2896676"/>
                <a:ext cx="4680" cy="2484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425577" y="2878676"/>
                  <a:ext cx="4032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14:cNvPr>
                <p14:cNvContentPartPr/>
                <p14:nvPr/>
              </p14:nvContentPartPr>
              <p14:xfrm>
                <a:off x="1151257" y="3138956"/>
                <a:ext cx="50040" cy="23400"/>
              </p14:xfrm>
            </p:contentPart>
          </mc:Choice>
          <mc:Fallback xmlns="">
            <p:pic>
              <p:nvPicPr>
                <p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133257" y="3121316"/>
                  <a:ext cx="8568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14:cNvPr>
                <p14:cNvContentPartPr/>
                <p14:nvPr/>
              </p14:nvContentPartPr>
              <p14:xfrm>
                <a:off x="1629697" y="2767436"/>
                <a:ext cx="38520" cy="25200"/>
              </p14:xfrm>
            </p:contentPart>
          </mc:Choice>
          <mc:Fallback xmlns="">
            <p:pic>
              <p:nvPicPr>
                <p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1611697" y="2749796"/>
                  <a:ext cx="7416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14:cNvPr>
                <p14:cNvContentPartPr/>
                <p14:nvPr/>
              </p14:nvContentPartPr>
              <p14:xfrm>
                <a:off x="1743097" y="2584556"/>
                <a:ext cx="27000" cy="44640"/>
              </p14:xfrm>
            </p:contentPart>
          </mc:Choice>
          <mc:Fallback xmlns="">
            <p:pic>
              <p:nvPicPr>
                <p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1725097" y="2566556"/>
                  <a:ext cx="6264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14:cNvPr>
                <p14:cNvContentPartPr/>
                <p14:nvPr/>
              </p14:nvContentPartPr>
              <p14:xfrm>
                <a:off x="1996177" y="2291516"/>
                <a:ext cx="48960" cy="54720"/>
              </p14:xfrm>
            </p:contentPart>
          </mc:Choice>
          <mc:Fallback xmlns="">
            <p:pic>
              <p:nvPicPr>
                <p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978537" y="2273876"/>
                  <a:ext cx="84600" cy="9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14:cNvPr>
                <p14:cNvContentPartPr/>
                <p14:nvPr/>
              </p14:nvContentPartPr>
              <p14:xfrm>
                <a:off x="2100217" y="2158676"/>
                <a:ext cx="13680" cy="43920"/>
              </p14:xfrm>
            </p:contentPart>
          </mc:Choice>
          <mc:Fallback xmlns="">
            <p:pic>
              <p:nvPicPr>
                <p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2082217" y="2140676"/>
                  <a:ext cx="49320" cy="79560"/>
                </a:xfrm>
                <a:prstGeom prst="rect">
                  <a:avLst/>
                </a:prstGeom>
              </p:spPr>
            </p:pic>
          </mc:Fallback>
        </mc:AlternateContent>
      </p:grpSp>
      <p:cxnSp>
        <p:nvCxnSpPr>
          <p:cNvPr id="131" name="Connettore diritto 130">
            <a:extLst>
              <a:ext uri="{FF2B5EF4-FFF2-40B4-BE49-F238E27FC236}">
                <a16:creationId xmlns:a16="http://schemas.microsoft.com/office/drawing/2014/main" id="{3163675C-64FA-1EBB-A1E4-FF1FE1A77CEA}"/>
              </a:ext>
            </a:extLst>
          </p:cNvPr>
          <p:cNvCxnSpPr>
            <a:cxnSpLocks/>
          </p:cNvCxnSpPr>
          <p:nvPr/>
        </p:nvCxnSpPr>
        <p:spPr>
          <a:xfrm flipV="1">
            <a:off x="691644" y="2941872"/>
            <a:ext cx="1706484" cy="190054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CasellaDiTesto 135">
            <a:extLst>
              <a:ext uri="{FF2B5EF4-FFF2-40B4-BE49-F238E27FC236}">
                <a16:creationId xmlns:a16="http://schemas.microsoft.com/office/drawing/2014/main" id="{BCF5D468-3992-BBD2-8847-8749DBAAB3D0}"/>
              </a:ext>
            </a:extLst>
          </p:cNvPr>
          <p:cNvSpPr txBox="1"/>
          <p:nvPr/>
        </p:nvSpPr>
        <p:spPr>
          <a:xfrm>
            <a:off x="2718091" y="4110087"/>
            <a:ext cx="61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SST’</a:t>
            </a:r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/>
              <p:nvPr/>
            </p:nvSpPr>
            <p:spPr>
              <a:xfrm>
                <a:off x="1220846" y="2085843"/>
                <a:ext cx="4709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en-GB" dirty="0"/>
              </a:p>
            </p:txBody>
          </p:sp>
        </mc:Choice>
        <mc:Fallback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0846" y="2085843"/>
                <a:ext cx="470963" cy="369332"/>
              </a:xfrm>
              <a:prstGeom prst="rect">
                <a:avLst/>
              </a:prstGeom>
              <a:blipFill>
                <a:blip r:embed="rId186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/>
              <p:nvPr/>
            </p:nvSpPr>
            <p:spPr>
              <a:xfrm>
                <a:off x="686002" y="1449484"/>
                <a:ext cx="2355068" cy="6398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sub>
                        <m:sup/>
                      </m:sSub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𝑆𝑆𝑇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GB" sz="2800" dirty="0"/>
              </a:p>
            </p:txBody>
          </p:sp>
        </mc:Choice>
        <mc:Fallback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002" y="1449484"/>
                <a:ext cx="2355068" cy="639855"/>
              </a:xfrm>
              <a:prstGeom prst="rect">
                <a:avLst/>
              </a:prstGeom>
              <a:blipFill>
                <a:blip r:embed="rId1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Immagine 6">
            <a:extLst>
              <a:ext uri="{FF2B5EF4-FFF2-40B4-BE49-F238E27FC236}">
                <a16:creationId xmlns:a16="http://schemas.microsoft.com/office/drawing/2014/main" id="{856AA565-6927-6C12-12D4-66DDE42168C7}"/>
              </a:ext>
            </a:extLst>
          </p:cNvPr>
          <p:cNvPicPr>
            <a:picLocks noChangeAspect="1"/>
          </p:cNvPicPr>
          <p:nvPr/>
        </p:nvPicPr>
        <p:blipFill>
          <a:blip r:embed="rId188"/>
          <a:stretch>
            <a:fillRect/>
          </a:stretch>
        </p:blipFill>
        <p:spPr>
          <a:xfrm>
            <a:off x="4255661" y="944744"/>
            <a:ext cx="6546466" cy="5067753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131A196-814A-9419-81E9-D3F38616E450}"/>
              </a:ext>
            </a:extLst>
          </p:cNvPr>
          <p:cNvSpPr txBox="1"/>
          <p:nvPr/>
        </p:nvSpPr>
        <p:spPr>
          <a:xfrm>
            <a:off x="1119625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ale-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epend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8404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/>
      <p:bldP spid="137" grpId="0"/>
      <p:bldP spid="138" grpId="0" build="allAtOnce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1F383110-5EA4-4561-8064-E5387B7E4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726532"/>
            <a:ext cx="10296524" cy="1404937"/>
          </a:xfrm>
        </p:spPr>
        <p:txBody>
          <a:bodyPr/>
          <a:lstStyle/>
          <a:p>
            <a:pPr algn="ctr"/>
            <a:r>
              <a:rPr lang="it-IT" dirty="0" err="1"/>
              <a:t>Now</a:t>
            </a:r>
            <a:r>
              <a:rPr lang="it-IT" dirty="0"/>
              <a:t>, with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acquired</a:t>
            </a:r>
            <a:r>
              <a:rPr lang="it-IT" dirty="0"/>
              <a:t> knowledge…</a:t>
            </a:r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F52C906-6401-EDE4-D134-EEB7174EB8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0229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034AE-2FB4-A343-4749-0D604BD20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D9F1A7A-705E-F5C3-D8D3-869148D6EE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8A1FC6D9-0772-D0A2-2CE5-9A25A11FF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4208" y="1205403"/>
            <a:ext cx="4454349" cy="470010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99E408DA-8237-B15E-596B-085DE2607E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689" y="1504097"/>
            <a:ext cx="4092930" cy="4465015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8FCDB047-BA96-AA17-0BA1-0D0539E4B437}"/>
              </a:ext>
            </a:extLst>
          </p:cNvPr>
          <p:cNvSpPr txBox="1"/>
          <p:nvPr/>
        </p:nvSpPr>
        <p:spPr>
          <a:xfrm>
            <a:off x="333884" y="310996"/>
            <a:ext cx="8276716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   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trop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precipitation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E0A576FA-71BB-AE2F-3DAC-58DA509ED144}"/>
              </a:ext>
            </a:extLst>
          </p:cNvPr>
          <p:cNvCxnSpPr>
            <a:cxnSpLocks/>
          </p:cNvCxnSpPr>
          <p:nvPr/>
        </p:nvCxnSpPr>
        <p:spPr>
          <a:xfrm>
            <a:off x="707264" y="804110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3680A4-593E-0A99-9EFB-16E56BD0FBC5}"/>
              </a:ext>
            </a:extLst>
          </p:cNvPr>
          <p:cNvSpPr txBox="1"/>
          <p:nvPr/>
        </p:nvSpPr>
        <p:spPr>
          <a:xfrm>
            <a:off x="9916998" y="5361960"/>
            <a:ext cx="1838227" cy="26205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it-IT" sz="1400" i="1" dirty="0"/>
              <a:t>Ian and Braun, 2002</a:t>
            </a:r>
            <a:endParaRPr lang="en-GB" sz="1400" i="1" dirty="0" err="1"/>
          </a:p>
        </p:txBody>
      </p:sp>
    </p:spTree>
    <p:extLst>
      <p:ext uri="{BB962C8B-B14F-4D97-AF65-F5344CB8AC3E}">
        <p14:creationId xmlns:p14="http://schemas.microsoft.com/office/powerpoint/2010/main" val="22391140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104D3-1C77-423C-F28E-277700958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FEC683F-D9E2-9112-4D1D-2A65DD62F0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pic>
        <p:nvPicPr>
          <p:cNvPr id="40" name="Immagine 39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B7C817BD-7FE2-58DF-9341-3DDBD59DC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06"/>
          <a:stretch>
            <a:fillRect/>
          </a:stretch>
        </p:blipFill>
        <p:spPr>
          <a:xfrm>
            <a:off x="2813850" y="77983"/>
            <a:ext cx="2972652" cy="3683311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/>
              <p:nvPr/>
            </p:nvSpPr>
            <p:spPr>
              <a:xfrm>
                <a:off x="6825794" y="3107589"/>
                <a:ext cx="5366206" cy="464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𝑀𝑆𝐸</m:t>
                          </m:r>
                        </m:e>
                      </m:acc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≈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𝑆𝐻𝐹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𝐿𝐻𝐹</m:t>
                      </m:r>
                    </m:oMath>
                  </m:oMathPara>
                </a14:m>
                <a:endParaRPr lang="it-IT" sz="2333" dirty="0"/>
              </a:p>
            </p:txBody>
          </p:sp>
        </mc:Choice>
        <mc:Fallback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25794" y="3107589"/>
                <a:ext cx="5366206" cy="464935"/>
              </a:xfrm>
              <a:prstGeom prst="rect">
                <a:avLst/>
              </a:prstGeom>
              <a:blipFill>
                <a:blip r:embed="rId4"/>
                <a:stretch>
                  <a:fillRect t="-131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ttangolo 6">
            <a:extLst>
              <a:ext uri="{FF2B5EF4-FFF2-40B4-BE49-F238E27FC236}">
                <a16:creationId xmlns:a16="http://schemas.microsoft.com/office/drawing/2014/main" id="{B38465AA-B20C-B1BF-A9AD-4048ED7F105F}"/>
              </a:ext>
            </a:extLst>
          </p:cNvPr>
          <p:cNvSpPr/>
          <p:nvPr/>
        </p:nvSpPr>
        <p:spPr>
          <a:xfrm rot="10800000">
            <a:off x="486584" y="5350620"/>
            <a:ext cx="5012676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EB8836F-0342-35C3-0523-9932F4426CBD}"/>
              </a:ext>
            </a:extLst>
          </p:cNvPr>
          <p:cNvSpPr txBox="1"/>
          <p:nvPr/>
        </p:nvSpPr>
        <p:spPr>
          <a:xfrm>
            <a:off x="418498" y="2805652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5CFBE1AE-B539-DA3D-6009-A920A9A50813}"/>
              </a:ext>
            </a:extLst>
          </p:cNvPr>
          <p:cNvSpPr txBox="1"/>
          <p:nvPr/>
        </p:nvSpPr>
        <p:spPr>
          <a:xfrm>
            <a:off x="749113" y="4608285"/>
            <a:ext cx="631904" cy="6306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 </a:t>
            </a:r>
          </a:p>
          <a:p>
            <a:r>
              <a:rPr lang="it-IT" sz="1749" dirty="0"/>
              <a:t>LHF</a:t>
            </a:r>
            <a:endParaRPr lang="en-GB" sz="1749" dirty="0"/>
          </a:p>
        </p:txBody>
      </p:sp>
      <p:sp>
        <p:nvSpPr>
          <p:cNvPr id="20" name="Freccia in su 19">
            <a:extLst>
              <a:ext uri="{FF2B5EF4-FFF2-40B4-BE49-F238E27FC236}">
                <a16:creationId xmlns:a16="http://schemas.microsoft.com/office/drawing/2014/main" id="{E4741669-C7CE-C499-4037-96834924CF80}"/>
              </a:ext>
            </a:extLst>
          </p:cNvPr>
          <p:cNvSpPr/>
          <p:nvPr/>
        </p:nvSpPr>
        <p:spPr>
          <a:xfrm>
            <a:off x="1476243" y="4600402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804124D-1F4E-A4D1-1971-EB7A6CC3B707}"/>
              </a:ext>
            </a:extLst>
          </p:cNvPr>
          <p:cNvSpPr txBox="1"/>
          <p:nvPr/>
        </p:nvSpPr>
        <p:spPr>
          <a:xfrm>
            <a:off x="333884" y="266103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And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Boundary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layer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quasi-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equilibrium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B9E8E2F8-6A4A-E7C6-A858-F72F95DCF88F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C9768F58-4C2C-E0B8-A5E8-18B115881D0C}"/>
              </a:ext>
            </a:extLst>
          </p:cNvPr>
          <p:cNvSpPr/>
          <p:nvPr/>
        </p:nvSpPr>
        <p:spPr>
          <a:xfrm>
            <a:off x="599579" y="3103968"/>
            <a:ext cx="5181670" cy="412954"/>
          </a:xfrm>
          <a:custGeom>
            <a:avLst/>
            <a:gdLst>
              <a:gd name="connsiteX0" fmla="*/ 0 w 5181670"/>
              <a:gd name="connsiteY0" fmla="*/ 412954 h 412954"/>
              <a:gd name="connsiteX1" fmla="*/ 127820 w 5181670"/>
              <a:gd name="connsiteY1" fmla="*/ 304800 h 412954"/>
              <a:gd name="connsiteX2" fmla="*/ 157317 w 5181670"/>
              <a:gd name="connsiteY2" fmla="*/ 285135 h 412954"/>
              <a:gd name="connsiteX3" fmla="*/ 285136 w 5181670"/>
              <a:gd name="connsiteY3" fmla="*/ 245806 h 412954"/>
              <a:gd name="connsiteX4" fmla="*/ 373626 w 5181670"/>
              <a:gd name="connsiteY4" fmla="*/ 216309 h 412954"/>
              <a:gd name="connsiteX5" fmla="*/ 570271 w 5181670"/>
              <a:gd name="connsiteY5" fmla="*/ 196645 h 412954"/>
              <a:gd name="connsiteX6" fmla="*/ 1150375 w 5181670"/>
              <a:gd name="connsiteY6" fmla="*/ 157316 h 412954"/>
              <a:gd name="connsiteX7" fmla="*/ 1219200 w 5181670"/>
              <a:gd name="connsiteY7" fmla="*/ 137651 h 412954"/>
              <a:gd name="connsiteX8" fmla="*/ 1278194 w 5181670"/>
              <a:gd name="connsiteY8" fmla="*/ 127819 h 412954"/>
              <a:gd name="connsiteX9" fmla="*/ 1445342 w 5181670"/>
              <a:gd name="connsiteY9" fmla="*/ 108154 h 412954"/>
              <a:gd name="connsiteX10" fmla="*/ 1828800 w 5181670"/>
              <a:gd name="connsiteY10" fmla="*/ 127819 h 412954"/>
              <a:gd name="connsiteX11" fmla="*/ 2035278 w 5181670"/>
              <a:gd name="connsiteY11" fmla="*/ 167148 h 412954"/>
              <a:gd name="connsiteX12" fmla="*/ 2143433 w 5181670"/>
              <a:gd name="connsiteY12" fmla="*/ 176980 h 412954"/>
              <a:gd name="connsiteX13" fmla="*/ 2507226 w 5181670"/>
              <a:gd name="connsiteY13" fmla="*/ 167148 h 412954"/>
              <a:gd name="connsiteX14" fmla="*/ 2635046 w 5181670"/>
              <a:gd name="connsiteY14" fmla="*/ 147483 h 412954"/>
              <a:gd name="connsiteX15" fmla="*/ 2861188 w 5181670"/>
              <a:gd name="connsiteY15" fmla="*/ 176980 h 412954"/>
              <a:gd name="connsiteX16" fmla="*/ 2998839 w 5181670"/>
              <a:gd name="connsiteY16" fmla="*/ 216309 h 412954"/>
              <a:gd name="connsiteX17" fmla="*/ 3401962 w 5181670"/>
              <a:gd name="connsiteY17" fmla="*/ 216309 h 412954"/>
              <a:gd name="connsiteX18" fmla="*/ 3500284 w 5181670"/>
              <a:gd name="connsiteY18" fmla="*/ 196645 h 412954"/>
              <a:gd name="connsiteX19" fmla="*/ 3598607 w 5181670"/>
              <a:gd name="connsiteY19" fmla="*/ 167148 h 412954"/>
              <a:gd name="connsiteX20" fmla="*/ 3706762 w 5181670"/>
              <a:gd name="connsiteY20" fmla="*/ 157316 h 412954"/>
              <a:gd name="connsiteX21" fmla="*/ 3805084 w 5181670"/>
              <a:gd name="connsiteY21" fmla="*/ 117987 h 412954"/>
              <a:gd name="connsiteX22" fmla="*/ 4011562 w 5181670"/>
              <a:gd name="connsiteY22" fmla="*/ 68825 h 412954"/>
              <a:gd name="connsiteX23" fmla="*/ 4100052 w 5181670"/>
              <a:gd name="connsiteY23" fmla="*/ 49161 h 412954"/>
              <a:gd name="connsiteX24" fmla="*/ 4345859 w 5181670"/>
              <a:gd name="connsiteY24" fmla="*/ 68825 h 412954"/>
              <a:gd name="connsiteX25" fmla="*/ 4454013 w 5181670"/>
              <a:gd name="connsiteY25" fmla="*/ 137651 h 412954"/>
              <a:gd name="connsiteX26" fmla="*/ 4621162 w 5181670"/>
              <a:gd name="connsiteY26" fmla="*/ 176980 h 412954"/>
              <a:gd name="connsiteX27" fmla="*/ 5004620 w 5181670"/>
              <a:gd name="connsiteY27" fmla="*/ 127819 h 412954"/>
              <a:gd name="connsiteX28" fmla="*/ 5112775 w 5181670"/>
              <a:gd name="connsiteY28" fmla="*/ 78658 h 412954"/>
              <a:gd name="connsiteX29" fmla="*/ 5181600 w 5181670"/>
              <a:gd name="connsiteY29" fmla="*/ 0 h 41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181670" h="412954">
                <a:moveTo>
                  <a:pt x="0" y="412954"/>
                </a:moveTo>
                <a:cubicBezTo>
                  <a:pt x="42607" y="376903"/>
                  <a:pt x="81381" y="335760"/>
                  <a:pt x="127820" y="304800"/>
                </a:cubicBezTo>
                <a:cubicBezTo>
                  <a:pt x="137652" y="298245"/>
                  <a:pt x="146559" y="290025"/>
                  <a:pt x="157317" y="285135"/>
                </a:cubicBezTo>
                <a:cubicBezTo>
                  <a:pt x="272372" y="232836"/>
                  <a:pt x="196133" y="271235"/>
                  <a:pt x="285136" y="245806"/>
                </a:cubicBezTo>
                <a:cubicBezTo>
                  <a:pt x="315032" y="237264"/>
                  <a:pt x="343462" y="223850"/>
                  <a:pt x="373626" y="216309"/>
                </a:cubicBezTo>
                <a:cubicBezTo>
                  <a:pt x="415418" y="205861"/>
                  <a:pt x="547195" y="198247"/>
                  <a:pt x="570271" y="196645"/>
                </a:cubicBezTo>
                <a:lnTo>
                  <a:pt x="1150375" y="157316"/>
                </a:lnTo>
                <a:cubicBezTo>
                  <a:pt x="1173317" y="150761"/>
                  <a:pt x="1195951" y="143016"/>
                  <a:pt x="1219200" y="137651"/>
                </a:cubicBezTo>
                <a:cubicBezTo>
                  <a:pt x="1238625" y="133168"/>
                  <a:pt x="1258490" y="130850"/>
                  <a:pt x="1278194" y="127819"/>
                </a:cubicBezTo>
                <a:cubicBezTo>
                  <a:pt x="1358922" y="115400"/>
                  <a:pt x="1353386" y="117350"/>
                  <a:pt x="1445342" y="108154"/>
                </a:cubicBezTo>
                <a:cubicBezTo>
                  <a:pt x="1516879" y="110804"/>
                  <a:pt x="1726577" y="114486"/>
                  <a:pt x="1828800" y="127819"/>
                </a:cubicBezTo>
                <a:cubicBezTo>
                  <a:pt x="2063528" y="158435"/>
                  <a:pt x="1815567" y="135761"/>
                  <a:pt x="2035278" y="167148"/>
                </a:cubicBezTo>
                <a:cubicBezTo>
                  <a:pt x="2071114" y="172268"/>
                  <a:pt x="2107381" y="173703"/>
                  <a:pt x="2143433" y="176980"/>
                </a:cubicBezTo>
                <a:cubicBezTo>
                  <a:pt x="2264697" y="173703"/>
                  <a:pt x="2386135" y="174414"/>
                  <a:pt x="2507226" y="167148"/>
                </a:cubicBezTo>
                <a:cubicBezTo>
                  <a:pt x="2550257" y="164566"/>
                  <a:pt x="2591955" y="146286"/>
                  <a:pt x="2635046" y="147483"/>
                </a:cubicBezTo>
                <a:cubicBezTo>
                  <a:pt x="2711036" y="149594"/>
                  <a:pt x="2785807" y="167148"/>
                  <a:pt x="2861188" y="176980"/>
                </a:cubicBezTo>
                <a:cubicBezTo>
                  <a:pt x="2907072" y="190090"/>
                  <a:pt x="2952208" y="206172"/>
                  <a:pt x="2998839" y="216309"/>
                </a:cubicBezTo>
                <a:cubicBezTo>
                  <a:pt x="3109220" y="240305"/>
                  <a:pt x="3348979" y="217965"/>
                  <a:pt x="3401962" y="216309"/>
                </a:cubicBezTo>
                <a:cubicBezTo>
                  <a:pt x="3434736" y="209754"/>
                  <a:pt x="3467859" y="204751"/>
                  <a:pt x="3500284" y="196645"/>
                </a:cubicBezTo>
                <a:cubicBezTo>
                  <a:pt x="3533480" y="188346"/>
                  <a:pt x="3564994" y="173550"/>
                  <a:pt x="3598607" y="167148"/>
                </a:cubicBezTo>
                <a:cubicBezTo>
                  <a:pt x="3634168" y="160375"/>
                  <a:pt x="3670710" y="160593"/>
                  <a:pt x="3706762" y="157316"/>
                </a:cubicBezTo>
                <a:cubicBezTo>
                  <a:pt x="3739536" y="144206"/>
                  <a:pt x="3771597" y="129149"/>
                  <a:pt x="3805084" y="117987"/>
                </a:cubicBezTo>
                <a:cubicBezTo>
                  <a:pt x="3889126" y="89973"/>
                  <a:pt x="3927006" y="86626"/>
                  <a:pt x="4011562" y="68825"/>
                </a:cubicBezTo>
                <a:cubicBezTo>
                  <a:pt x="4041130" y="62600"/>
                  <a:pt x="4070555" y="55716"/>
                  <a:pt x="4100052" y="49161"/>
                </a:cubicBezTo>
                <a:cubicBezTo>
                  <a:pt x="4181988" y="55716"/>
                  <a:pt x="4266116" y="48889"/>
                  <a:pt x="4345859" y="68825"/>
                </a:cubicBezTo>
                <a:cubicBezTo>
                  <a:pt x="4387315" y="79189"/>
                  <a:pt x="4414002" y="122647"/>
                  <a:pt x="4454013" y="137651"/>
                </a:cubicBezTo>
                <a:cubicBezTo>
                  <a:pt x="4560460" y="177569"/>
                  <a:pt x="4504840" y="164056"/>
                  <a:pt x="4621162" y="176980"/>
                </a:cubicBezTo>
                <a:cubicBezTo>
                  <a:pt x="4748981" y="160593"/>
                  <a:pt x="4877286" y="147627"/>
                  <a:pt x="5004620" y="127819"/>
                </a:cubicBezTo>
                <a:cubicBezTo>
                  <a:pt x="5040354" y="122260"/>
                  <a:pt x="5083998" y="100241"/>
                  <a:pt x="5112775" y="78658"/>
                </a:cubicBezTo>
                <a:cubicBezTo>
                  <a:pt x="5186577" y="23307"/>
                  <a:pt x="5181600" y="48165"/>
                  <a:pt x="5181600" y="0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A02D727-AB43-6477-0F0C-6FD7C6981514}"/>
              </a:ext>
            </a:extLst>
          </p:cNvPr>
          <p:cNvSpPr txBox="1"/>
          <p:nvPr/>
        </p:nvSpPr>
        <p:spPr>
          <a:xfrm>
            <a:off x="1317174" y="5348517"/>
            <a:ext cx="335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The </a:t>
            </a:r>
            <a:r>
              <a:rPr lang="it-IT" dirty="0" err="1"/>
              <a:t>warm</a:t>
            </a:r>
            <a:r>
              <a:rPr lang="it-IT" dirty="0"/>
              <a:t> </a:t>
            </a:r>
            <a:r>
              <a:rPr lang="it-IT" dirty="0" err="1"/>
              <a:t>sea</a:t>
            </a:r>
            <a:r>
              <a:rPr lang="it-IT" dirty="0"/>
              <a:t> of the </a:t>
            </a:r>
            <a:r>
              <a:rPr lang="it-IT" b="1" dirty="0"/>
              <a:t>Warm Pool</a:t>
            </a:r>
          </a:p>
        </p:txBody>
      </p: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172AB2F-F8E6-160B-F684-A0420DD02EB9}"/>
              </a:ext>
            </a:extLst>
          </p:cNvPr>
          <p:cNvCxnSpPr>
            <a:cxnSpLocks/>
          </p:cNvCxnSpPr>
          <p:nvPr/>
        </p:nvCxnSpPr>
        <p:spPr>
          <a:xfrm>
            <a:off x="2729934" y="3348152"/>
            <a:ext cx="0" cy="191200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2 27">
            <a:extLst>
              <a:ext uri="{FF2B5EF4-FFF2-40B4-BE49-F238E27FC236}">
                <a16:creationId xmlns:a16="http://schemas.microsoft.com/office/drawing/2014/main" id="{F3F531B0-5B27-F7BF-692C-B2B49B0053CD}"/>
              </a:ext>
            </a:extLst>
          </p:cNvPr>
          <p:cNvCxnSpPr/>
          <p:nvPr/>
        </p:nvCxnSpPr>
        <p:spPr>
          <a:xfrm>
            <a:off x="1179683" y="5871595"/>
            <a:ext cx="3893574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443B5787-BDDE-DA46-47F4-909793938AFB}"/>
              </a:ext>
            </a:extLst>
          </p:cNvPr>
          <p:cNvSpPr txBox="1"/>
          <p:nvPr/>
        </p:nvSpPr>
        <p:spPr>
          <a:xfrm>
            <a:off x="2405137" y="5964753"/>
            <a:ext cx="6254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MSE</a:t>
            </a:r>
          </a:p>
        </p:txBody>
      </p:sp>
      <p:sp>
        <p:nvSpPr>
          <p:cNvPr id="34" name="Freccia in su 33">
            <a:extLst>
              <a:ext uri="{FF2B5EF4-FFF2-40B4-BE49-F238E27FC236}">
                <a16:creationId xmlns:a16="http://schemas.microsoft.com/office/drawing/2014/main" id="{E0148539-CBD3-28A6-FCDA-5BD38AB7A391}"/>
              </a:ext>
            </a:extLst>
          </p:cNvPr>
          <p:cNvSpPr/>
          <p:nvPr/>
        </p:nvSpPr>
        <p:spPr>
          <a:xfrm>
            <a:off x="4062108" y="2372447"/>
            <a:ext cx="816077" cy="730470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Freccia circolare a destra 36">
            <a:extLst>
              <a:ext uri="{FF2B5EF4-FFF2-40B4-BE49-F238E27FC236}">
                <a16:creationId xmlns:a16="http://schemas.microsoft.com/office/drawing/2014/main" id="{ACA9F5B4-8E13-D1DE-5D60-18FA4529C4A0}"/>
              </a:ext>
            </a:extLst>
          </p:cNvPr>
          <p:cNvSpPr/>
          <p:nvPr/>
        </p:nvSpPr>
        <p:spPr>
          <a:xfrm rot="5400000">
            <a:off x="2601947" y="1904270"/>
            <a:ext cx="398122" cy="592564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8" name="Freccia circolare in giù 37">
            <a:extLst>
              <a:ext uri="{FF2B5EF4-FFF2-40B4-BE49-F238E27FC236}">
                <a16:creationId xmlns:a16="http://schemas.microsoft.com/office/drawing/2014/main" id="{6851794F-C9B2-5BC5-3244-738BCFCA544E}"/>
              </a:ext>
            </a:extLst>
          </p:cNvPr>
          <p:cNvSpPr/>
          <p:nvPr/>
        </p:nvSpPr>
        <p:spPr>
          <a:xfrm>
            <a:off x="5279923" y="1986659"/>
            <a:ext cx="816077" cy="412954"/>
          </a:xfrm>
          <a:prstGeom prst="curved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cxnSp>
        <p:nvCxnSpPr>
          <p:cNvPr id="48" name="Connettore diritto 47">
            <a:extLst>
              <a:ext uri="{FF2B5EF4-FFF2-40B4-BE49-F238E27FC236}">
                <a16:creationId xmlns:a16="http://schemas.microsoft.com/office/drawing/2014/main" id="{51477FEF-90FF-21A2-E005-3F29B33EB603}"/>
              </a:ext>
            </a:extLst>
          </p:cNvPr>
          <p:cNvCxnSpPr/>
          <p:nvPr/>
        </p:nvCxnSpPr>
        <p:spPr>
          <a:xfrm>
            <a:off x="2064584" y="973189"/>
            <a:ext cx="0" cy="19762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818AB247-4B60-99FF-070B-AE0DB874BF4D}"/>
              </a:ext>
            </a:extLst>
          </p:cNvPr>
          <p:cNvSpPr txBox="1"/>
          <p:nvPr/>
        </p:nvSpPr>
        <p:spPr>
          <a:xfrm>
            <a:off x="7344258" y="2014079"/>
            <a:ext cx="3938490" cy="71673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it-IT" sz="1600" dirty="0" err="1"/>
              <a:t>Conditions</a:t>
            </a:r>
            <a:r>
              <a:rPr lang="it-IT" sz="1600" dirty="0"/>
              <a:t> </a:t>
            </a:r>
            <a:r>
              <a:rPr lang="it-IT" sz="1600" dirty="0" err="1"/>
              <a:t>typical</a:t>
            </a:r>
            <a:r>
              <a:rPr lang="it-IT" sz="1600" dirty="0"/>
              <a:t> for the Warm Pool </a:t>
            </a:r>
            <a:r>
              <a:rPr lang="it-IT" sz="1600" dirty="0" err="1"/>
              <a:t>region</a:t>
            </a:r>
            <a:endParaRPr lang="it-IT" sz="16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it-IT" sz="1600" dirty="0"/>
              <a:t>i.e. </a:t>
            </a:r>
            <a:r>
              <a:rPr lang="it-IT" sz="1600" b="1" dirty="0"/>
              <a:t>light </a:t>
            </a:r>
            <a:r>
              <a:rPr lang="it-IT" sz="1600" b="1" dirty="0" err="1"/>
              <a:t>winds</a:t>
            </a:r>
            <a:r>
              <a:rPr lang="it-IT" sz="1600" b="1" dirty="0"/>
              <a:t> </a:t>
            </a:r>
            <a:r>
              <a:rPr lang="it-IT" sz="1600" dirty="0"/>
              <a:t>, </a:t>
            </a:r>
            <a:r>
              <a:rPr lang="it-IT" sz="1600" b="1" dirty="0"/>
              <a:t>low SST </a:t>
            </a:r>
            <a:r>
              <a:rPr lang="it-IT" sz="1600" b="1" dirty="0" err="1"/>
              <a:t>gradients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423347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3.7037E-6 L 0.15026 0.0043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208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22222E-6 L 0.15026 2.22222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026 0.00439 L 0.02838 0.00439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94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35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026 2.22222E-6 L 0.02838 0.00208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94" y="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29" grpId="1"/>
      <p:bldP spid="29" grpId="2"/>
      <p:bldP spid="34" grpId="0" animBg="1"/>
      <p:bldP spid="37" grpId="0" animBg="1"/>
      <p:bldP spid="3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</TotalTime>
  <Words>898</Words>
  <Application>Microsoft Office PowerPoint</Application>
  <PresentationFormat>Widescreen</PresentationFormat>
  <Paragraphs>148</Paragraphs>
  <Slides>21</Slides>
  <Notes>5</Notes>
  <HiddenSlides>2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32" baseType="lpstr">
      <vt:lpstr>.SF NS Symbols Regular</vt:lpstr>
      <vt:lpstr>Aptos</vt:lpstr>
      <vt:lpstr>Aptos Display</vt:lpstr>
      <vt:lpstr>Arial</vt:lpstr>
      <vt:lpstr>Cambria Math</vt:lpstr>
      <vt:lpstr>Symbol</vt:lpstr>
      <vt:lpstr>Wingdings</vt:lpstr>
      <vt:lpstr>Wingdings 3</vt:lpstr>
      <vt:lpstr>Tema di Office</vt:lpstr>
      <vt:lpstr>MPG_2020</vt:lpstr>
      <vt:lpstr>think-cell Folie</vt:lpstr>
      <vt:lpstr>The role of surface turbulent fluxes  over the ocean in air-sea coupling  Past experience and Future perspectives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Now, with this acquired knowledge…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lo storer</dc:creator>
  <cp:lastModifiedBy>alessandro storer</cp:lastModifiedBy>
  <cp:revision>42</cp:revision>
  <dcterms:created xsi:type="dcterms:W3CDTF">2025-09-15T12:13:08Z</dcterms:created>
  <dcterms:modified xsi:type="dcterms:W3CDTF">2025-09-30T16:34:07Z</dcterms:modified>
</cp:coreProperties>
</file>